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jpg!d"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5.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36.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35" r:id="rId5"/>
    <p:sldMasterId id="2147483762" r:id="rId6"/>
    <p:sldMasterId id="2147483759" r:id="rId7"/>
  </p:sldMasterIdLst>
  <p:notesMasterIdLst>
    <p:notesMasterId r:id="rId41"/>
  </p:notesMasterIdLst>
  <p:handoutMasterIdLst>
    <p:handoutMasterId r:id="rId42"/>
  </p:handoutMasterIdLst>
  <p:sldIdLst>
    <p:sldId id="311" r:id="rId8"/>
    <p:sldId id="636" r:id="rId9"/>
    <p:sldId id="699" r:id="rId10"/>
    <p:sldId id="637" r:id="rId11"/>
    <p:sldId id="696" r:id="rId12"/>
    <p:sldId id="336" r:id="rId13"/>
    <p:sldId id="621" r:id="rId14"/>
    <p:sldId id="667" r:id="rId15"/>
    <p:sldId id="693" r:id="rId16"/>
    <p:sldId id="668" r:id="rId17"/>
    <p:sldId id="281" r:id="rId18"/>
    <p:sldId id="697" r:id="rId19"/>
    <p:sldId id="642" r:id="rId20"/>
    <p:sldId id="698" r:id="rId21"/>
    <p:sldId id="680" r:id="rId22"/>
    <p:sldId id="695" r:id="rId23"/>
    <p:sldId id="701" r:id="rId24"/>
    <p:sldId id="681" r:id="rId25"/>
    <p:sldId id="288" r:id="rId26"/>
    <p:sldId id="704" r:id="rId27"/>
    <p:sldId id="703" r:id="rId28"/>
    <p:sldId id="709" r:id="rId29"/>
    <p:sldId id="712" r:id="rId30"/>
    <p:sldId id="618" r:id="rId31"/>
    <p:sldId id="665" r:id="rId32"/>
    <p:sldId id="700" r:id="rId33"/>
    <p:sldId id="713" r:id="rId34"/>
    <p:sldId id="714" r:id="rId35"/>
    <p:sldId id="715" r:id="rId36"/>
    <p:sldId id="707" r:id="rId37"/>
    <p:sldId id="658" r:id="rId38"/>
    <p:sldId id="710" r:id="rId39"/>
    <p:sldId id="711" r:id="rId40"/>
  </p:sldIdLst>
  <p:sldSz cx="9144000" cy="6858000" type="screen4x3"/>
  <p:notesSz cx="6858000" cy="9144000"/>
  <p:custDataLst>
    <p:tags r:id="rId43"/>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mperio, Cristina" initials="DC" lastIdx="3" clrIdx="0">
    <p:extLst>
      <p:ext uri="{19B8F6BF-5375-455C-9EA6-DF929625EA0E}">
        <p15:presenceInfo xmlns:p15="http://schemas.microsoft.com/office/powerpoint/2012/main" userId="S-1-5-21-155921428-2012831158-965413785-39971" providerId="AD"/>
      </p:ext>
    </p:extLst>
  </p:cmAuthor>
  <p:cmAuthor id="2" name="Boal, Jennifer" initials="BJ" lastIdx="18" clrIdx="1">
    <p:extLst>
      <p:ext uri="{19B8F6BF-5375-455C-9EA6-DF929625EA0E}">
        <p15:presenceInfo xmlns:p15="http://schemas.microsoft.com/office/powerpoint/2012/main" userId="S-1-5-21-155921428-2012831158-965413785-390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1F1"/>
    <a:srgbClr val="EEEEF1"/>
    <a:srgbClr val="EBEBEC"/>
    <a:srgbClr val="F2F2F3"/>
    <a:srgbClr val="FFFFFF"/>
    <a:srgbClr val="298C95"/>
    <a:srgbClr val="E6E6E6"/>
    <a:srgbClr val="F2F2F2"/>
    <a:srgbClr val="BAD4E2"/>
    <a:srgbClr val="6CADC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3041" autoAdjust="0"/>
    <p:restoredTop sz="96286" autoAdjust="0"/>
  </p:normalViewPr>
  <p:slideViewPr>
    <p:cSldViewPr snapToGrid="0" showGuides="1">
      <p:cViewPr varScale="1">
        <p:scale>
          <a:sx n="122" d="100"/>
          <a:sy n="122" d="100"/>
        </p:scale>
        <p:origin x="2064" y="192"/>
      </p:cViewPr>
      <p:guideLst>
        <p:guide orient="horz" pos="2160"/>
        <p:guide pos="2880"/>
      </p:guideLst>
    </p:cSldViewPr>
  </p:slideViewPr>
  <p:outlineViewPr>
    <p:cViewPr>
      <p:scale>
        <a:sx n="33" d="100"/>
        <a:sy n="33" d="100"/>
      </p:scale>
      <p:origin x="0" y="0"/>
    </p:cViewPr>
  </p:outlineViewPr>
  <p:notesTextViewPr>
    <p:cViewPr>
      <p:scale>
        <a:sx n="20" d="100"/>
        <a:sy n="20" d="100"/>
      </p:scale>
      <p:origin x="0" y="0"/>
    </p:cViewPr>
  </p:notesTextViewPr>
  <p:sorterViewPr>
    <p:cViewPr>
      <p:scale>
        <a:sx n="80" d="100"/>
        <a:sy n="80" d="100"/>
      </p:scale>
      <p:origin x="0" y="0"/>
    </p:cViewPr>
  </p:sorterViewPr>
  <p:notesViewPr>
    <p:cSldViewPr snapToGrid="0" showGuides="1">
      <p:cViewPr varScale="1">
        <p:scale>
          <a:sx n="92" d="100"/>
          <a:sy n="92" d="100"/>
        </p:scale>
        <p:origin x="4328"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notesMaster" Target="notesMasters/notesMaster1.xml"/></Relationships>
</file>

<file path=ppt/diagrams/_rels/data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11" Type="http://schemas.openxmlformats.org/officeDocument/2006/relationships/image" Target="../media/image24.sv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svg"/><Relationship Id="rId9" Type="http://schemas.openxmlformats.org/officeDocument/2006/relationships/image" Target="../media/image22.jpeg"/></Relationships>
</file>

<file path=ppt/diagrams/_rels/data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ata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4" Type="http://schemas.openxmlformats.org/officeDocument/2006/relationships/image" Target="../media/image43.svg"/></Relationships>
</file>

<file path=ppt/diagrams/_rels/data7.xml.rels><?xml version="1.0" encoding="UTF-8" standalone="yes"?>
<Relationships xmlns="http://schemas.openxmlformats.org/package/2006/relationships"><Relationship Id="rId3" Type="http://schemas.openxmlformats.org/officeDocument/2006/relationships/image" Target="../media/image48.svg"/><Relationship Id="rId7" Type="http://schemas.openxmlformats.org/officeDocument/2006/relationships/image" Target="../media/image51.jpg!d"/><Relationship Id="rId2" Type="http://schemas.openxmlformats.org/officeDocument/2006/relationships/image" Target="../media/image47.png"/><Relationship Id="rId1" Type="http://schemas.openxmlformats.org/officeDocument/2006/relationships/hyperlink" Target="https://www.congress.gov/bill/117th-congress/house-bill/5376/text" TargetMode="Externa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hyperlink" Target="https://www.sustainability.gov/buyclean/" TargetMode="External"/></Relationships>
</file>

<file path=ppt/diagrams/_rels/drawing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11" Type="http://schemas.openxmlformats.org/officeDocument/2006/relationships/image" Target="../media/image24.sv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svg"/><Relationship Id="rId9" Type="http://schemas.openxmlformats.org/officeDocument/2006/relationships/image" Target="../media/image22.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svg"/><Relationship Id="rId1" Type="http://schemas.openxmlformats.org/officeDocument/2006/relationships/image" Target="../media/image27.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diagrams/_rels/drawing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4" Type="http://schemas.openxmlformats.org/officeDocument/2006/relationships/image" Target="../media/image43.svg"/></Relationships>
</file>

<file path=ppt/diagrams/_rels/drawing7.xml.rels><?xml version="1.0" encoding="UTF-8" standalone="yes"?>
<Relationships xmlns="http://schemas.openxmlformats.org/package/2006/relationships"><Relationship Id="rId3" Type="http://schemas.openxmlformats.org/officeDocument/2006/relationships/image" Target="../media/image48.svg"/><Relationship Id="rId7" Type="http://schemas.openxmlformats.org/officeDocument/2006/relationships/image" Target="../media/image51.jpg!d"/><Relationship Id="rId2" Type="http://schemas.openxmlformats.org/officeDocument/2006/relationships/image" Target="../media/image47.png"/><Relationship Id="rId1" Type="http://schemas.openxmlformats.org/officeDocument/2006/relationships/hyperlink" Target="https://www.congress.gov/bill/117th-congress/house-bill/5376/text" TargetMode="Externa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hyperlink" Target="https://www.sustainability.gov/buyclean/" TargetMode="Externa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9AB14F-4D3A-4D84-901C-845BA3CB5EA0}" type="doc">
      <dgm:prSet loTypeId="urn:microsoft.com/office/officeart/2018/2/layout/IconCircleList" loCatId="icon" qsTypeId="urn:microsoft.com/office/officeart/2005/8/quickstyle/simple1" qsCatId="simple" csTypeId="urn:microsoft.com/office/officeart/2005/8/colors/accent3_2" csCatId="accent3" phldr="1"/>
      <dgm:spPr/>
      <dgm:t>
        <a:bodyPr/>
        <a:lstStyle/>
        <a:p>
          <a:endParaRPr lang="en-US"/>
        </a:p>
      </dgm:t>
    </dgm:pt>
    <dgm:pt modelId="{2F859D7D-EA09-4D94-9260-E431BE534ABB}">
      <dgm:prSet/>
      <dgm:spPr/>
      <dgm:t>
        <a:bodyPr/>
        <a:lstStyle/>
        <a:p>
          <a:pPr>
            <a:lnSpc>
              <a:spcPct val="100000"/>
            </a:lnSpc>
          </a:pPr>
          <a:r>
            <a:rPr lang="en-US" dirty="0"/>
            <a:t>Improved Performance:  Maintenance, Wind, Noise  </a:t>
          </a:r>
        </a:p>
      </dgm:t>
    </dgm:pt>
    <dgm:pt modelId="{265F38FE-E6F5-444F-AB7A-F746CB990179}" type="parTrans" cxnId="{87CF234A-6190-4D13-82F8-C1A355EAB30E}">
      <dgm:prSet/>
      <dgm:spPr/>
      <dgm:t>
        <a:bodyPr/>
        <a:lstStyle/>
        <a:p>
          <a:endParaRPr lang="en-US"/>
        </a:p>
      </dgm:t>
    </dgm:pt>
    <dgm:pt modelId="{712AA739-95EB-40DF-84FE-FE1248F4F815}" type="sibTrans" cxnId="{87CF234A-6190-4D13-82F8-C1A355EAB30E}">
      <dgm:prSet/>
      <dgm:spPr/>
      <dgm:t>
        <a:bodyPr/>
        <a:lstStyle/>
        <a:p>
          <a:pPr>
            <a:lnSpc>
              <a:spcPct val="100000"/>
            </a:lnSpc>
          </a:pPr>
          <a:endParaRPr lang="en-US"/>
        </a:p>
      </dgm:t>
    </dgm:pt>
    <dgm:pt modelId="{D797AC47-C8B8-48CD-B991-00CC838BFCC7}">
      <dgm:prSet/>
      <dgm:spPr/>
      <dgm:t>
        <a:bodyPr/>
        <a:lstStyle/>
        <a:p>
          <a:pPr>
            <a:lnSpc>
              <a:spcPct val="100000"/>
            </a:lnSpc>
          </a:pPr>
          <a:r>
            <a:rPr lang="en-US" dirty="0"/>
            <a:t>Aesthetics: Better, more durable pigments </a:t>
          </a:r>
        </a:p>
      </dgm:t>
    </dgm:pt>
    <dgm:pt modelId="{7129BDDE-BEEF-476C-B5B9-DA0ED78BBC94}" type="parTrans" cxnId="{9C3051A1-C01A-4067-B3BA-AD534641FF76}">
      <dgm:prSet/>
      <dgm:spPr/>
      <dgm:t>
        <a:bodyPr/>
        <a:lstStyle/>
        <a:p>
          <a:endParaRPr lang="en-US"/>
        </a:p>
      </dgm:t>
    </dgm:pt>
    <dgm:pt modelId="{513E2499-C287-448A-A85A-280D13B0579A}" type="sibTrans" cxnId="{9C3051A1-C01A-4067-B3BA-AD534641FF76}">
      <dgm:prSet/>
      <dgm:spPr/>
      <dgm:t>
        <a:bodyPr/>
        <a:lstStyle/>
        <a:p>
          <a:pPr>
            <a:lnSpc>
              <a:spcPct val="100000"/>
            </a:lnSpc>
          </a:pPr>
          <a:endParaRPr lang="en-US"/>
        </a:p>
      </dgm:t>
    </dgm:pt>
    <dgm:pt modelId="{CAEC5178-8ADB-FF4D-AE44-1E5D0AC36F09}">
      <dgm:prSet/>
      <dgm:spPr/>
      <dgm:t>
        <a:bodyPr/>
        <a:lstStyle/>
        <a:p>
          <a:pPr>
            <a:lnSpc>
              <a:spcPct val="100000"/>
            </a:lnSpc>
          </a:pPr>
          <a:r>
            <a:rPr lang="en-US" dirty="0"/>
            <a:t>Superior Continuous Exterior Wall Insulation</a:t>
          </a:r>
        </a:p>
      </dgm:t>
    </dgm:pt>
    <dgm:pt modelId="{6949337F-CD7A-8F4D-AE6B-02E1FB7AAF0D}" type="parTrans" cxnId="{67FDE95D-2E04-B44F-B39F-29838DFB7324}">
      <dgm:prSet/>
      <dgm:spPr/>
      <dgm:t>
        <a:bodyPr/>
        <a:lstStyle/>
        <a:p>
          <a:endParaRPr lang="en-US"/>
        </a:p>
      </dgm:t>
    </dgm:pt>
    <dgm:pt modelId="{FDEBE2AF-C436-C64C-877D-CB236A6B7B9E}" type="sibTrans" cxnId="{67FDE95D-2E04-B44F-B39F-29838DFB7324}">
      <dgm:prSet/>
      <dgm:spPr/>
      <dgm:t>
        <a:bodyPr/>
        <a:lstStyle/>
        <a:p>
          <a:pPr>
            <a:lnSpc>
              <a:spcPct val="100000"/>
            </a:lnSpc>
          </a:pPr>
          <a:endParaRPr lang="en-US"/>
        </a:p>
      </dgm:t>
    </dgm:pt>
    <dgm:pt modelId="{C5828A82-DAED-F147-B89E-113BA9745810}">
      <dgm:prSet/>
      <dgm:spPr/>
      <dgm:t>
        <a:bodyPr/>
        <a:lstStyle/>
        <a:p>
          <a:pPr>
            <a:lnSpc>
              <a:spcPct val="100000"/>
            </a:lnSpc>
          </a:pPr>
          <a:r>
            <a:rPr lang="en-US" b="1" dirty="0"/>
            <a:t>Building Code/ ASHRE Compliance </a:t>
          </a:r>
        </a:p>
      </dgm:t>
    </dgm:pt>
    <dgm:pt modelId="{CBEB3CCB-1B6F-3549-A9A8-3FC72CD570FD}" type="parTrans" cxnId="{5973DA0B-4D22-8B4E-B2DF-FABE037A3EC6}">
      <dgm:prSet/>
      <dgm:spPr/>
      <dgm:t>
        <a:bodyPr/>
        <a:lstStyle/>
        <a:p>
          <a:endParaRPr lang="en-US"/>
        </a:p>
      </dgm:t>
    </dgm:pt>
    <dgm:pt modelId="{84079354-442A-E748-A344-617825A1E70C}" type="sibTrans" cxnId="{5973DA0B-4D22-8B4E-B2DF-FABE037A3EC6}">
      <dgm:prSet/>
      <dgm:spPr/>
      <dgm:t>
        <a:bodyPr/>
        <a:lstStyle/>
        <a:p>
          <a:pPr>
            <a:lnSpc>
              <a:spcPct val="100000"/>
            </a:lnSpc>
          </a:pPr>
          <a:endParaRPr lang="en-US"/>
        </a:p>
      </dgm:t>
    </dgm:pt>
    <dgm:pt modelId="{2734ADF7-0C29-604C-AC03-43105499634B}">
      <dgm:prSet/>
      <dgm:spPr/>
      <dgm:t>
        <a:bodyPr/>
        <a:lstStyle/>
        <a:p>
          <a:pPr>
            <a:lnSpc>
              <a:spcPct val="100000"/>
            </a:lnSpc>
          </a:pPr>
          <a:r>
            <a:rPr lang="en-US" dirty="0"/>
            <a:t>Environmentally Beneficial</a:t>
          </a:r>
        </a:p>
      </dgm:t>
    </dgm:pt>
    <dgm:pt modelId="{E9DA77AD-B471-4242-BA39-EBB4C0782314}" type="parTrans" cxnId="{BA571ECB-DD02-4449-91D6-E4498FCE8EF8}">
      <dgm:prSet/>
      <dgm:spPr/>
      <dgm:t>
        <a:bodyPr/>
        <a:lstStyle/>
        <a:p>
          <a:endParaRPr lang="en-US"/>
        </a:p>
      </dgm:t>
    </dgm:pt>
    <dgm:pt modelId="{8DF5B973-873C-8145-AE85-B10125056433}" type="sibTrans" cxnId="{BA571ECB-DD02-4449-91D6-E4498FCE8EF8}">
      <dgm:prSet/>
      <dgm:spPr/>
      <dgm:t>
        <a:bodyPr/>
        <a:lstStyle/>
        <a:p>
          <a:endParaRPr lang="en-US"/>
        </a:p>
      </dgm:t>
    </dgm:pt>
    <dgm:pt modelId="{50AD89CC-2545-3C44-A53C-59BAFA07CA8D}">
      <dgm:prSet/>
      <dgm:spPr/>
      <dgm:t>
        <a:bodyPr/>
        <a:lstStyle/>
        <a:p>
          <a:pPr>
            <a:lnSpc>
              <a:spcPct val="100000"/>
            </a:lnSpc>
          </a:pPr>
          <a:r>
            <a:rPr lang="en-US" dirty="0"/>
            <a:t>Effective Moisture Management</a:t>
          </a:r>
        </a:p>
      </dgm:t>
    </dgm:pt>
    <dgm:pt modelId="{1BA01B28-B8D0-094E-825A-B51FBD511974}" type="parTrans" cxnId="{17B0A2A9-A1A4-6343-9201-4A71F3C29A5A}">
      <dgm:prSet/>
      <dgm:spPr/>
      <dgm:t>
        <a:bodyPr/>
        <a:lstStyle/>
        <a:p>
          <a:endParaRPr lang="en-US"/>
        </a:p>
      </dgm:t>
    </dgm:pt>
    <dgm:pt modelId="{01E506C8-BB6A-B648-A208-7167F2F30604}" type="sibTrans" cxnId="{17B0A2A9-A1A4-6343-9201-4A71F3C29A5A}">
      <dgm:prSet/>
      <dgm:spPr/>
      <dgm:t>
        <a:bodyPr/>
        <a:lstStyle/>
        <a:p>
          <a:pPr>
            <a:lnSpc>
              <a:spcPct val="100000"/>
            </a:lnSpc>
          </a:pPr>
          <a:endParaRPr lang="en-US"/>
        </a:p>
      </dgm:t>
    </dgm:pt>
    <dgm:pt modelId="{735D80A6-43A8-E745-854C-F403E5272D69}">
      <dgm:prSet/>
      <dgm:spPr/>
      <dgm:t>
        <a:bodyPr/>
        <a:lstStyle/>
        <a:p>
          <a:pPr>
            <a:lnSpc>
              <a:spcPct val="100000"/>
            </a:lnSpc>
          </a:pPr>
          <a:r>
            <a:rPr lang="en-US" dirty="0"/>
            <a:t>Tax &amp; Funding Advantages</a:t>
          </a:r>
        </a:p>
      </dgm:t>
    </dgm:pt>
    <dgm:pt modelId="{AF3CDAAE-5149-6B4A-BB21-C4224572FF82}" type="parTrans" cxnId="{26364CDE-6758-B740-AA15-A9BB283E48F9}">
      <dgm:prSet/>
      <dgm:spPr/>
      <dgm:t>
        <a:bodyPr/>
        <a:lstStyle/>
        <a:p>
          <a:endParaRPr lang="en-US"/>
        </a:p>
      </dgm:t>
    </dgm:pt>
    <dgm:pt modelId="{8D0C7479-C32F-8D46-87F6-48138704DF67}" type="sibTrans" cxnId="{26364CDE-6758-B740-AA15-A9BB283E48F9}">
      <dgm:prSet/>
      <dgm:spPr/>
      <dgm:t>
        <a:bodyPr/>
        <a:lstStyle/>
        <a:p>
          <a:pPr>
            <a:lnSpc>
              <a:spcPct val="100000"/>
            </a:lnSpc>
          </a:pPr>
          <a:endParaRPr lang="en-US"/>
        </a:p>
      </dgm:t>
    </dgm:pt>
    <dgm:pt modelId="{D5E6EEC8-C2B9-4223-85B9-3A250CC7E428}" type="pres">
      <dgm:prSet presAssocID="{C19AB14F-4D3A-4D84-901C-845BA3CB5EA0}" presName="root" presStyleCnt="0">
        <dgm:presLayoutVars>
          <dgm:dir/>
          <dgm:resizeHandles val="exact"/>
        </dgm:presLayoutVars>
      </dgm:prSet>
      <dgm:spPr/>
    </dgm:pt>
    <dgm:pt modelId="{B486DBD9-088B-48D1-A0F2-B98AC218C858}" type="pres">
      <dgm:prSet presAssocID="{C19AB14F-4D3A-4D84-901C-845BA3CB5EA0}" presName="container" presStyleCnt="0">
        <dgm:presLayoutVars>
          <dgm:dir/>
          <dgm:resizeHandles val="exact"/>
        </dgm:presLayoutVars>
      </dgm:prSet>
      <dgm:spPr/>
    </dgm:pt>
    <dgm:pt modelId="{B731226E-BD11-4FE7-AD39-BE819B646B20}" type="pres">
      <dgm:prSet presAssocID="{CAEC5178-8ADB-FF4D-AE44-1E5D0AC36F09}" presName="compNode" presStyleCnt="0"/>
      <dgm:spPr/>
    </dgm:pt>
    <dgm:pt modelId="{BB50ED22-AB43-47CF-865D-45B0CC817C1B}" type="pres">
      <dgm:prSet presAssocID="{CAEC5178-8ADB-FF4D-AE44-1E5D0AC36F09}" presName="iconBgRect" presStyleLbl="bgShp" presStyleIdx="0" presStyleCnt="7"/>
      <dgm:spPr/>
    </dgm:pt>
    <dgm:pt modelId="{B092BEB0-E51D-4196-A42B-016E710A90A5}" type="pres">
      <dgm:prSet presAssocID="{CAEC5178-8ADB-FF4D-AE44-1E5D0AC36F09}"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ome"/>
        </a:ext>
      </dgm:extLst>
    </dgm:pt>
    <dgm:pt modelId="{849EC6E3-C64C-4B1F-8D98-17EE213C06C0}" type="pres">
      <dgm:prSet presAssocID="{CAEC5178-8ADB-FF4D-AE44-1E5D0AC36F09}" presName="spaceRect" presStyleCnt="0"/>
      <dgm:spPr/>
    </dgm:pt>
    <dgm:pt modelId="{40C47CAC-6979-4144-B567-F9ECC5EAC947}" type="pres">
      <dgm:prSet presAssocID="{CAEC5178-8ADB-FF4D-AE44-1E5D0AC36F09}" presName="textRect" presStyleLbl="revTx" presStyleIdx="0" presStyleCnt="7">
        <dgm:presLayoutVars>
          <dgm:chMax val="1"/>
          <dgm:chPref val="1"/>
        </dgm:presLayoutVars>
      </dgm:prSet>
      <dgm:spPr/>
    </dgm:pt>
    <dgm:pt modelId="{709D57FF-7FDB-BB4B-B84F-9BEC317495CE}" type="pres">
      <dgm:prSet presAssocID="{FDEBE2AF-C436-C64C-877D-CB236A6B7B9E}" presName="sibTrans" presStyleLbl="sibTrans2D1" presStyleIdx="0" presStyleCnt="0"/>
      <dgm:spPr/>
    </dgm:pt>
    <dgm:pt modelId="{06704B04-BECD-2B49-8BAA-5208E4597BB4}" type="pres">
      <dgm:prSet presAssocID="{50AD89CC-2545-3C44-A53C-59BAFA07CA8D}" presName="compNode" presStyleCnt="0"/>
      <dgm:spPr/>
    </dgm:pt>
    <dgm:pt modelId="{64C263A7-3360-874E-99A0-F7025D773F94}" type="pres">
      <dgm:prSet presAssocID="{50AD89CC-2545-3C44-A53C-59BAFA07CA8D}" presName="iconBgRect" presStyleLbl="bgShp" presStyleIdx="1" presStyleCnt="7"/>
      <dgm:spPr/>
    </dgm:pt>
    <dgm:pt modelId="{25FE1461-3BBD-2D43-B4DD-A34A5343EC06}" type="pres">
      <dgm:prSet presAssocID="{50AD89CC-2545-3C44-A53C-59BAFA07CA8D}" presName="iconRect" presStyleLbl="node1" presStyleIdx="1" presStyleCnt="7"/>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Water outline"/>
        </a:ext>
      </dgm:extLst>
    </dgm:pt>
    <dgm:pt modelId="{8C8ACDE0-D6C1-784C-AA28-715DDF43AC59}" type="pres">
      <dgm:prSet presAssocID="{50AD89CC-2545-3C44-A53C-59BAFA07CA8D}" presName="spaceRect" presStyleCnt="0"/>
      <dgm:spPr/>
    </dgm:pt>
    <dgm:pt modelId="{9DFE13E6-774C-A041-ABFB-367C14FACB45}" type="pres">
      <dgm:prSet presAssocID="{50AD89CC-2545-3C44-A53C-59BAFA07CA8D}" presName="textRect" presStyleLbl="revTx" presStyleIdx="1" presStyleCnt="7">
        <dgm:presLayoutVars>
          <dgm:chMax val="1"/>
          <dgm:chPref val="1"/>
        </dgm:presLayoutVars>
      </dgm:prSet>
      <dgm:spPr/>
    </dgm:pt>
    <dgm:pt modelId="{03997FBE-87A0-0E43-9134-8A6D032A275F}" type="pres">
      <dgm:prSet presAssocID="{01E506C8-BB6A-B648-A208-7167F2F30604}" presName="sibTrans" presStyleLbl="sibTrans2D1" presStyleIdx="0" presStyleCnt="0"/>
      <dgm:spPr/>
    </dgm:pt>
    <dgm:pt modelId="{0BF352A5-31EC-4BB8-962F-E3B499A545D1}" type="pres">
      <dgm:prSet presAssocID="{2F859D7D-EA09-4D94-9260-E431BE534ABB}" presName="compNode" presStyleCnt="0"/>
      <dgm:spPr/>
    </dgm:pt>
    <dgm:pt modelId="{86CDBED4-8108-4559-8476-AD5871F6190E}" type="pres">
      <dgm:prSet presAssocID="{2F859D7D-EA09-4D94-9260-E431BE534ABB}" presName="iconBgRect" presStyleLbl="bgShp" presStyleIdx="2" presStyleCnt="7"/>
      <dgm:spPr/>
    </dgm:pt>
    <dgm:pt modelId="{CB019378-BFC4-45EA-918C-F7337FAB29F8}" type="pres">
      <dgm:prSet presAssocID="{2F859D7D-EA09-4D94-9260-E431BE534ABB}" presName="iconRect" presStyleLbl="node1" presStyleIdx="2" presStyleCnt="7"/>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Hammer1 outline"/>
        </a:ext>
      </dgm:extLst>
    </dgm:pt>
    <dgm:pt modelId="{0124AFA4-D819-4552-91EB-0C45D56D1690}" type="pres">
      <dgm:prSet presAssocID="{2F859D7D-EA09-4D94-9260-E431BE534ABB}" presName="spaceRect" presStyleCnt="0"/>
      <dgm:spPr/>
    </dgm:pt>
    <dgm:pt modelId="{270A37EC-61F3-4DFC-ABE3-7051B26467DD}" type="pres">
      <dgm:prSet presAssocID="{2F859D7D-EA09-4D94-9260-E431BE534ABB}" presName="textRect" presStyleLbl="revTx" presStyleIdx="2" presStyleCnt="7">
        <dgm:presLayoutVars>
          <dgm:chMax val="1"/>
          <dgm:chPref val="1"/>
        </dgm:presLayoutVars>
      </dgm:prSet>
      <dgm:spPr/>
    </dgm:pt>
    <dgm:pt modelId="{8A22D720-6E53-422F-B3A7-3D81AE780BDE}" type="pres">
      <dgm:prSet presAssocID="{712AA739-95EB-40DF-84FE-FE1248F4F815}" presName="sibTrans" presStyleLbl="sibTrans2D1" presStyleIdx="0" presStyleCnt="0"/>
      <dgm:spPr/>
    </dgm:pt>
    <dgm:pt modelId="{4109558C-C945-42CE-9470-56B7595D7B70}" type="pres">
      <dgm:prSet presAssocID="{D797AC47-C8B8-48CD-B991-00CC838BFCC7}" presName="compNode" presStyleCnt="0"/>
      <dgm:spPr/>
    </dgm:pt>
    <dgm:pt modelId="{EB1DA8BC-0A2D-4B3A-832C-230B438DD5C5}" type="pres">
      <dgm:prSet presAssocID="{D797AC47-C8B8-48CD-B991-00CC838BFCC7}" presName="iconBgRect" presStyleLbl="bgShp" presStyleIdx="3" presStyleCnt="7"/>
      <dgm:spPr/>
    </dgm:pt>
    <dgm:pt modelId="{F16497D2-E658-4BD4-A118-4214854F0A1A}" type="pres">
      <dgm:prSet presAssocID="{D797AC47-C8B8-48CD-B991-00CC838BFCC7}"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alette"/>
        </a:ext>
      </dgm:extLst>
    </dgm:pt>
    <dgm:pt modelId="{DCFEA9B2-58C5-44C4-987C-77377D50083F}" type="pres">
      <dgm:prSet presAssocID="{D797AC47-C8B8-48CD-B991-00CC838BFCC7}" presName="spaceRect" presStyleCnt="0"/>
      <dgm:spPr/>
    </dgm:pt>
    <dgm:pt modelId="{71C83509-F132-439D-A292-C546CE1E2B08}" type="pres">
      <dgm:prSet presAssocID="{D797AC47-C8B8-48CD-B991-00CC838BFCC7}" presName="textRect" presStyleLbl="revTx" presStyleIdx="3" presStyleCnt="7">
        <dgm:presLayoutVars>
          <dgm:chMax val="1"/>
          <dgm:chPref val="1"/>
        </dgm:presLayoutVars>
      </dgm:prSet>
      <dgm:spPr/>
    </dgm:pt>
    <dgm:pt modelId="{5F357907-9377-435E-9A6D-F6E84504E94B}" type="pres">
      <dgm:prSet presAssocID="{513E2499-C287-448A-A85A-280D13B0579A}" presName="sibTrans" presStyleLbl="sibTrans2D1" presStyleIdx="0" presStyleCnt="0"/>
      <dgm:spPr/>
    </dgm:pt>
    <dgm:pt modelId="{590C8063-D975-004A-A10F-371EAB74B562}" type="pres">
      <dgm:prSet presAssocID="{C5828A82-DAED-F147-B89E-113BA9745810}" presName="compNode" presStyleCnt="0"/>
      <dgm:spPr/>
    </dgm:pt>
    <dgm:pt modelId="{787B65A0-F9E0-0147-8AEA-DA55EEE39F06}" type="pres">
      <dgm:prSet presAssocID="{C5828A82-DAED-F147-B89E-113BA9745810}" presName="iconBgRect" presStyleLbl="bgShp" presStyleIdx="4" presStyleCnt="7" custLinFactNeighborX="4350" custLinFactNeighborY="1450"/>
      <dgm:spPr>
        <a:solidFill>
          <a:schemeClr val="accent4"/>
        </a:solidFill>
        <a:ln>
          <a:solidFill>
            <a:schemeClr val="accent1"/>
          </a:solidFill>
        </a:ln>
      </dgm:spPr>
    </dgm:pt>
    <dgm:pt modelId="{B0AA1D50-4220-D046-8143-2D2B58C14D83}" type="pres">
      <dgm:prSet presAssocID="{C5828A82-DAED-F147-B89E-113BA9745810}" presName="iconRect" presStyleLbl="node1" presStyleIdx="4" presStyleCnt="7"/>
      <dgm:spPr>
        <a:blipFill>
          <a:blip xmlns:r="http://schemas.openxmlformats.org/officeDocument/2006/relationships"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4F6ED994-755C-E846-8749-534B18B412DE}" type="pres">
      <dgm:prSet presAssocID="{C5828A82-DAED-F147-B89E-113BA9745810}" presName="spaceRect" presStyleCnt="0"/>
      <dgm:spPr/>
    </dgm:pt>
    <dgm:pt modelId="{F9DEF8CF-B543-F24C-8CD5-8133403C2245}" type="pres">
      <dgm:prSet presAssocID="{C5828A82-DAED-F147-B89E-113BA9745810}" presName="textRect" presStyleLbl="revTx" presStyleIdx="4" presStyleCnt="7">
        <dgm:presLayoutVars>
          <dgm:chMax val="1"/>
          <dgm:chPref val="1"/>
        </dgm:presLayoutVars>
      </dgm:prSet>
      <dgm:spPr/>
    </dgm:pt>
    <dgm:pt modelId="{E0E767AF-9CFB-1749-B3FE-76745CB4F38F}" type="pres">
      <dgm:prSet presAssocID="{84079354-442A-E748-A344-617825A1E70C}" presName="sibTrans" presStyleLbl="sibTrans2D1" presStyleIdx="0" presStyleCnt="0"/>
      <dgm:spPr/>
    </dgm:pt>
    <dgm:pt modelId="{99CF71FD-F059-614F-B8FB-A85BCABAC9E4}" type="pres">
      <dgm:prSet presAssocID="{735D80A6-43A8-E745-854C-F403E5272D69}" presName="compNode" presStyleCnt="0"/>
      <dgm:spPr/>
    </dgm:pt>
    <dgm:pt modelId="{839DD776-535E-5C47-9179-7D6378F4F2A3}" type="pres">
      <dgm:prSet presAssocID="{735D80A6-43A8-E745-854C-F403E5272D69}" presName="iconBgRect" presStyleLbl="bgShp" presStyleIdx="5" presStyleCnt="7"/>
      <dgm:spPr>
        <a:solidFill>
          <a:schemeClr val="accent1"/>
        </a:solidFill>
      </dgm:spPr>
    </dgm:pt>
    <dgm:pt modelId="{96DB47FF-44DE-6B4F-8F33-3187C4C83D2D}" type="pres">
      <dgm:prSet presAssocID="{735D80A6-43A8-E745-854C-F403E5272D69}" presName="iconRect" presStyleLbl="node1" presStyleIdx="5" presStyleCnt="7"/>
      <dgm:spPr/>
    </dgm:pt>
    <dgm:pt modelId="{5454B09D-7DC9-A944-A4DE-713A7BF06804}" type="pres">
      <dgm:prSet presAssocID="{735D80A6-43A8-E745-854C-F403E5272D69}" presName="spaceRect" presStyleCnt="0"/>
      <dgm:spPr/>
    </dgm:pt>
    <dgm:pt modelId="{D2CB12CA-FFEB-E049-8FA7-81BB5FB23780}" type="pres">
      <dgm:prSet presAssocID="{735D80A6-43A8-E745-854C-F403E5272D69}" presName="textRect" presStyleLbl="revTx" presStyleIdx="5" presStyleCnt="7">
        <dgm:presLayoutVars>
          <dgm:chMax val="1"/>
          <dgm:chPref val="1"/>
        </dgm:presLayoutVars>
      </dgm:prSet>
      <dgm:spPr/>
    </dgm:pt>
    <dgm:pt modelId="{6845A7E4-075D-4F48-914E-611CB3AAFC53}" type="pres">
      <dgm:prSet presAssocID="{8D0C7479-C32F-8D46-87F6-48138704DF67}" presName="sibTrans" presStyleLbl="sibTrans2D1" presStyleIdx="0" presStyleCnt="0"/>
      <dgm:spPr/>
    </dgm:pt>
    <dgm:pt modelId="{CD311FCE-E777-4442-A2E1-57DAC1912289}" type="pres">
      <dgm:prSet presAssocID="{2734ADF7-0C29-604C-AC03-43105499634B}" presName="compNode" presStyleCnt="0"/>
      <dgm:spPr/>
    </dgm:pt>
    <dgm:pt modelId="{B7146FCA-40A9-494C-B410-4D060203D465}" type="pres">
      <dgm:prSet presAssocID="{2734ADF7-0C29-604C-AC03-43105499634B}" presName="iconBgRect" presStyleLbl="bgShp" presStyleIdx="6" presStyleCnt="7"/>
      <dgm:spPr>
        <a:solidFill>
          <a:schemeClr val="accent4"/>
        </a:solidFill>
      </dgm:spPr>
    </dgm:pt>
    <dgm:pt modelId="{3B215066-FC50-6A40-A5C3-379F7626E6D7}" type="pres">
      <dgm:prSet presAssocID="{2734ADF7-0C29-604C-AC03-43105499634B}" presName="iconRect" presStyleLbl="node1" presStyleIdx="6" presStyleCnt="7"/>
      <dgm:spPr>
        <a:blipFill>
          <a:blip xmlns:r="http://schemas.openxmlformats.org/officeDocument/2006/relationships" r:embed="rId10">
            <a:extLst>
              <a:ext uri="{96DAC541-7B7A-43D3-8B79-37D633B846F1}">
                <asvg:svgBlip xmlns:asvg="http://schemas.microsoft.com/office/drawing/2016/SVG/main" r:embed="rId11"/>
              </a:ext>
            </a:extLst>
          </a:blip>
          <a:srcRect/>
          <a:stretch>
            <a:fillRect/>
          </a:stretch>
        </a:blipFill>
        <a:ln>
          <a:noFill/>
        </a:ln>
      </dgm:spPr>
      <dgm:extLst>
        <a:ext uri="{E40237B7-FDA0-4F09-8148-C483321AD2D9}">
          <dgm14:cNvPr xmlns:dgm14="http://schemas.microsoft.com/office/drawing/2010/diagram" id="0" name="" descr="Flying Money with solid fill"/>
        </a:ext>
      </dgm:extLst>
    </dgm:pt>
    <dgm:pt modelId="{E644EEF9-2828-AA4C-9B95-526468136E33}" type="pres">
      <dgm:prSet presAssocID="{2734ADF7-0C29-604C-AC03-43105499634B}" presName="spaceRect" presStyleCnt="0"/>
      <dgm:spPr/>
    </dgm:pt>
    <dgm:pt modelId="{AEEF7F71-025B-4C49-BF7C-EE2FD6D59F8A}" type="pres">
      <dgm:prSet presAssocID="{2734ADF7-0C29-604C-AC03-43105499634B}" presName="textRect" presStyleLbl="revTx" presStyleIdx="6" presStyleCnt="7">
        <dgm:presLayoutVars>
          <dgm:chMax val="1"/>
          <dgm:chPref val="1"/>
        </dgm:presLayoutVars>
      </dgm:prSet>
      <dgm:spPr/>
    </dgm:pt>
  </dgm:ptLst>
  <dgm:cxnLst>
    <dgm:cxn modelId="{5973DA0B-4D22-8B4E-B2DF-FABE037A3EC6}" srcId="{C19AB14F-4D3A-4D84-901C-845BA3CB5EA0}" destId="{C5828A82-DAED-F147-B89E-113BA9745810}" srcOrd="4" destOrd="0" parTransId="{CBEB3CCB-1B6F-3549-A9A8-3FC72CD570FD}" sibTransId="{84079354-442A-E748-A344-617825A1E70C}"/>
    <dgm:cxn modelId="{BE1BC831-E8BA-D149-803F-F5257EB2F67F}" type="presOf" srcId="{D797AC47-C8B8-48CD-B991-00CC838BFCC7}" destId="{71C83509-F132-439D-A292-C546CE1E2B08}" srcOrd="0" destOrd="0" presId="urn:microsoft.com/office/officeart/2018/2/layout/IconCircleList"/>
    <dgm:cxn modelId="{40471E35-63E8-3941-9314-CDA37E5D8C24}" type="presOf" srcId="{712AA739-95EB-40DF-84FE-FE1248F4F815}" destId="{8A22D720-6E53-422F-B3A7-3D81AE780BDE}" srcOrd="0" destOrd="0" presId="urn:microsoft.com/office/officeart/2018/2/layout/IconCircleList"/>
    <dgm:cxn modelId="{1DFC223D-EDA9-5149-B3FB-84B0878AD34E}" type="presOf" srcId="{2F859D7D-EA09-4D94-9260-E431BE534ABB}" destId="{270A37EC-61F3-4DFC-ABE3-7051B26467DD}" srcOrd="0" destOrd="0" presId="urn:microsoft.com/office/officeart/2018/2/layout/IconCircleList"/>
    <dgm:cxn modelId="{87CF234A-6190-4D13-82F8-C1A355EAB30E}" srcId="{C19AB14F-4D3A-4D84-901C-845BA3CB5EA0}" destId="{2F859D7D-EA09-4D94-9260-E431BE534ABB}" srcOrd="2" destOrd="0" parTransId="{265F38FE-E6F5-444F-AB7A-F746CB990179}" sibTransId="{712AA739-95EB-40DF-84FE-FE1248F4F815}"/>
    <dgm:cxn modelId="{67FDE95D-2E04-B44F-B39F-29838DFB7324}" srcId="{C19AB14F-4D3A-4D84-901C-845BA3CB5EA0}" destId="{CAEC5178-8ADB-FF4D-AE44-1E5D0AC36F09}" srcOrd="0" destOrd="0" parTransId="{6949337F-CD7A-8F4D-AE6B-02E1FB7AAF0D}" sibTransId="{FDEBE2AF-C436-C64C-877D-CB236A6B7B9E}"/>
    <dgm:cxn modelId="{9AD5FB63-15B8-F047-86DB-F103BF829BBA}" type="presOf" srcId="{CAEC5178-8ADB-FF4D-AE44-1E5D0AC36F09}" destId="{40C47CAC-6979-4144-B567-F9ECC5EAC947}" srcOrd="0" destOrd="0" presId="urn:microsoft.com/office/officeart/2018/2/layout/IconCircleList"/>
    <dgm:cxn modelId="{05011265-75F7-D646-8E05-04A39B730B0F}" type="presOf" srcId="{735D80A6-43A8-E745-854C-F403E5272D69}" destId="{D2CB12CA-FFEB-E049-8FA7-81BB5FB23780}" srcOrd="0" destOrd="0" presId="urn:microsoft.com/office/officeart/2018/2/layout/IconCircleList"/>
    <dgm:cxn modelId="{52D8B382-0CA1-1349-9155-493EC057AA34}" type="presOf" srcId="{C5828A82-DAED-F147-B89E-113BA9745810}" destId="{F9DEF8CF-B543-F24C-8CD5-8133403C2245}" srcOrd="0" destOrd="0" presId="urn:microsoft.com/office/officeart/2018/2/layout/IconCircleList"/>
    <dgm:cxn modelId="{F08E658E-F224-864F-841A-66BA4237D226}" type="presOf" srcId="{01E506C8-BB6A-B648-A208-7167F2F30604}" destId="{03997FBE-87A0-0E43-9134-8A6D032A275F}" srcOrd="0" destOrd="0" presId="urn:microsoft.com/office/officeart/2018/2/layout/IconCircleList"/>
    <dgm:cxn modelId="{9C3051A1-C01A-4067-B3BA-AD534641FF76}" srcId="{C19AB14F-4D3A-4D84-901C-845BA3CB5EA0}" destId="{D797AC47-C8B8-48CD-B991-00CC838BFCC7}" srcOrd="3" destOrd="0" parTransId="{7129BDDE-BEEF-476C-B5B9-DA0ED78BBC94}" sibTransId="{513E2499-C287-448A-A85A-280D13B0579A}"/>
    <dgm:cxn modelId="{304D7BA5-714A-0747-9D52-677DC793A313}" type="presOf" srcId="{FDEBE2AF-C436-C64C-877D-CB236A6B7B9E}" destId="{709D57FF-7FDB-BB4B-B84F-9BEC317495CE}" srcOrd="0" destOrd="0" presId="urn:microsoft.com/office/officeart/2018/2/layout/IconCircleList"/>
    <dgm:cxn modelId="{17B0A2A9-A1A4-6343-9201-4A71F3C29A5A}" srcId="{C19AB14F-4D3A-4D84-901C-845BA3CB5EA0}" destId="{50AD89CC-2545-3C44-A53C-59BAFA07CA8D}" srcOrd="1" destOrd="0" parTransId="{1BA01B28-B8D0-094E-825A-B51FBD511974}" sibTransId="{01E506C8-BB6A-B648-A208-7167F2F30604}"/>
    <dgm:cxn modelId="{322FD2AD-62B0-9645-9365-6039657D7E83}" type="presOf" srcId="{C19AB14F-4D3A-4D84-901C-845BA3CB5EA0}" destId="{D5E6EEC8-C2B9-4223-85B9-3A250CC7E428}" srcOrd="0" destOrd="0" presId="urn:microsoft.com/office/officeart/2018/2/layout/IconCircleList"/>
    <dgm:cxn modelId="{D648DEC6-B1B1-6D48-AF3B-44060311184D}" type="presOf" srcId="{8D0C7479-C32F-8D46-87F6-48138704DF67}" destId="{6845A7E4-075D-4F48-914E-611CB3AAFC53}" srcOrd="0" destOrd="0" presId="urn:microsoft.com/office/officeart/2018/2/layout/IconCircleList"/>
    <dgm:cxn modelId="{43504AC7-1999-7541-AC17-E49AF1C9E866}" type="presOf" srcId="{2734ADF7-0C29-604C-AC03-43105499634B}" destId="{AEEF7F71-025B-4C49-BF7C-EE2FD6D59F8A}" srcOrd="0" destOrd="0" presId="urn:microsoft.com/office/officeart/2018/2/layout/IconCircleList"/>
    <dgm:cxn modelId="{BA571ECB-DD02-4449-91D6-E4498FCE8EF8}" srcId="{C19AB14F-4D3A-4D84-901C-845BA3CB5EA0}" destId="{2734ADF7-0C29-604C-AC03-43105499634B}" srcOrd="6" destOrd="0" parTransId="{E9DA77AD-B471-4242-BA39-EBB4C0782314}" sibTransId="{8DF5B973-873C-8145-AE85-B10125056433}"/>
    <dgm:cxn modelId="{26364CDE-6758-B740-AA15-A9BB283E48F9}" srcId="{C19AB14F-4D3A-4D84-901C-845BA3CB5EA0}" destId="{735D80A6-43A8-E745-854C-F403E5272D69}" srcOrd="5" destOrd="0" parTransId="{AF3CDAAE-5149-6B4A-BB21-C4224572FF82}" sibTransId="{8D0C7479-C32F-8D46-87F6-48138704DF67}"/>
    <dgm:cxn modelId="{944DE6EA-ACDA-9C44-A38C-2F7D5144637C}" type="presOf" srcId="{50AD89CC-2545-3C44-A53C-59BAFA07CA8D}" destId="{9DFE13E6-774C-A041-ABFB-367C14FACB45}" srcOrd="0" destOrd="0" presId="urn:microsoft.com/office/officeart/2018/2/layout/IconCircleList"/>
    <dgm:cxn modelId="{30D8E7EC-FECF-3648-A3B1-778116F24CF0}" type="presOf" srcId="{513E2499-C287-448A-A85A-280D13B0579A}" destId="{5F357907-9377-435E-9A6D-F6E84504E94B}" srcOrd="0" destOrd="0" presId="urn:microsoft.com/office/officeart/2018/2/layout/IconCircleList"/>
    <dgm:cxn modelId="{C3B014F5-BAFA-3E4C-B668-1A8CE780430C}" type="presOf" srcId="{84079354-442A-E748-A344-617825A1E70C}" destId="{E0E767AF-9CFB-1749-B3FE-76745CB4F38F}" srcOrd="0" destOrd="0" presId="urn:microsoft.com/office/officeart/2018/2/layout/IconCircleList"/>
    <dgm:cxn modelId="{908BEFC8-BF58-3D43-88B0-E9CD6C39C384}" type="presParOf" srcId="{D5E6EEC8-C2B9-4223-85B9-3A250CC7E428}" destId="{B486DBD9-088B-48D1-A0F2-B98AC218C858}" srcOrd="0" destOrd="0" presId="urn:microsoft.com/office/officeart/2018/2/layout/IconCircleList"/>
    <dgm:cxn modelId="{30CC4FE9-7325-FC4D-8AD8-3D877485EC77}" type="presParOf" srcId="{B486DBD9-088B-48D1-A0F2-B98AC218C858}" destId="{B731226E-BD11-4FE7-AD39-BE819B646B20}" srcOrd="0" destOrd="0" presId="urn:microsoft.com/office/officeart/2018/2/layout/IconCircleList"/>
    <dgm:cxn modelId="{6CA1DFBA-17FC-1741-B147-D7F4675D4E9B}" type="presParOf" srcId="{B731226E-BD11-4FE7-AD39-BE819B646B20}" destId="{BB50ED22-AB43-47CF-865D-45B0CC817C1B}" srcOrd="0" destOrd="0" presId="urn:microsoft.com/office/officeart/2018/2/layout/IconCircleList"/>
    <dgm:cxn modelId="{A9A74ADD-ECDF-6541-96F0-8695F3F7186A}" type="presParOf" srcId="{B731226E-BD11-4FE7-AD39-BE819B646B20}" destId="{B092BEB0-E51D-4196-A42B-016E710A90A5}" srcOrd="1" destOrd="0" presId="urn:microsoft.com/office/officeart/2018/2/layout/IconCircleList"/>
    <dgm:cxn modelId="{44817F33-49ED-3C44-9BF4-AC27A8FF0AD5}" type="presParOf" srcId="{B731226E-BD11-4FE7-AD39-BE819B646B20}" destId="{849EC6E3-C64C-4B1F-8D98-17EE213C06C0}" srcOrd="2" destOrd="0" presId="urn:microsoft.com/office/officeart/2018/2/layout/IconCircleList"/>
    <dgm:cxn modelId="{E816C7CA-1EA9-0344-8403-2EC027888007}" type="presParOf" srcId="{B731226E-BD11-4FE7-AD39-BE819B646B20}" destId="{40C47CAC-6979-4144-B567-F9ECC5EAC947}" srcOrd="3" destOrd="0" presId="urn:microsoft.com/office/officeart/2018/2/layout/IconCircleList"/>
    <dgm:cxn modelId="{8BA5FB1A-4BB8-B74C-A954-DD5F59A0D674}" type="presParOf" srcId="{B486DBD9-088B-48D1-A0F2-B98AC218C858}" destId="{709D57FF-7FDB-BB4B-B84F-9BEC317495CE}" srcOrd="1" destOrd="0" presId="urn:microsoft.com/office/officeart/2018/2/layout/IconCircleList"/>
    <dgm:cxn modelId="{99818287-5B2D-DF42-8CD5-D9E64DFC4693}" type="presParOf" srcId="{B486DBD9-088B-48D1-A0F2-B98AC218C858}" destId="{06704B04-BECD-2B49-8BAA-5208E4597BB4}" srcOrd="2" destOrd="0" presId="urn:microsoft.com/office/officeart/2018/2/layout/IconCircleList"/>
    <dgm:cxn modelId="{5E2117E6-ED01-5D4E-BCBE-C28EC820FD55}" type="presParOf" srcId="{06704B04-BECD-2B49-8BAA-5208E4597BB4}" destId="{64C263A7-3360-874E-99A0-F7025D773F94}" srcOrd="0" destOrd="0" presId="urn:microsoft.com/office/officeart/2018/2/layout/IconCircleList"/>
    <dgm:cxn modelId="{F2045BC3-4C7B-9045-81AC-E17DE0D12194}" type="presParOf" srcId="{06704B04-BECD-2B49-8BAA-5208E4597BB4}" destId="{25FE1461-3BBD-2D43-B4DD-A34A5343EC06}" srcOrd="1" destOrd="0" presId="urn:microsoft.com/office/officeart/2018/2/layout/IconCircleList"/>
    <dgm:cxn modelId="{DF646AFB-A38D-F64C-80CD-C72C74A07AF4}" type="presParOf" srcId="{06704B04-BECD-2B49-8BAA-5208E4597BB4}" destId="{8C8ACDE0-D6C1-784C-AA28-715DDF43AC59}" srcOrd="2" destOrd="0" presId="urn:microsoft.com/office/officeart/2018/2/layout/IconCircleList"/>
    <dgm:cxn modelId="{CA8E4866-AB00-D34C-AF9E-F7E64FBCECBE}" type="presParOf" srcId="{06704B04-BECD-2B49-8BAA-5208E4597BB4}" destId="{9DFE13E6-774C-A041-ABFB-367C14FACB45}" srcOrd="3" destOrd="0" presId="urn:microsoft.com/office/officeart/2018/2/layout/IconCircleList"/>
    <dgm:cxn modelId="{A9168D62-F813-934E-8EDA-1DA89DADED35}" type="presParOf" srcId="{B486DBD9-088B-48D1-A0F2-B98AC218C858}" destId="{03997FBE-87A0-0E43-9134-8A6D032A275F}" srcOrd="3" destOrd="0" presId="urn:microsoft.com/office/officeart/2018/2/layout/IconCircleList"/>
    <dgm:cxn modelId="{6C6E3766-4477-5442-A629-4D9043E1E672}" type="presParOf" srcId="{B486DBD9-088B-48D1-A0F2-B98AC218C858}" destId="{0BF352A5-31EC-4BB8-962F-E3B499A545D1}" srcOrd="4" destOrd="0" presId="urn:microsoft.com/office/officeart/2018/2/layout/IconCircleList"/>
    <dgm:cxn modelId="{B0233461-5A84-DC43-9C87-5F1BC61C0F1D}" type="presParOf" srcId="{0BF352A5-31EC-4BB8-962F-E3B499A545D1}" destId="{86CDBED4-8108-4559-8476-AD5871F6190E}" srcOrd="0" destOrd="0" presId="urn:microsoft.com/office/officeart/2018/2/layout/IconCircleList"/>
    <dgm:cxn modelId="{3AEBCBAA-103C-F54F-AB02-4B1370A54332}" type="presParOf" srcId="{0BF352A5-31EC-4BB8-962F-E3B499A545D1}" destId="{CB019378-BFC4-45EA-918C-F7337FAB29F8}" srcOrd="1" destOrd="0" presId="urn:microsoft.com/office/officeart/2018/2/layout/IconCircleList"/>
    <dgm:cxn modelId="{B05C02CB-059E-B249-9CBC-96048EF985A0}" type="presParOf" srcId="{0BF352A5-31EC-4BB8-962F-E3B499A545D1}" destId="{0124AFA4-D819-4552-91EB-0C45D56D1690}" srcOrd="2" destOrd="0" presId="urn:microsoft.com/office/officeart/2018/2/layout/IconCircleList"/>
    <dgm:cxn modelId="{190E19EE-4F25-1E4E-AF3C-9943CB6A1008}" type="presParOf" srcId="{0BF352A5-31EC-4BB8-962F-E3B499A545D1}" destId="{270A37EC-61F3-4DFC-ABE3-7051B26467DD}" srcOrd="3" destOrd="0" presId="urn:microsoft.com/office/officeart/2018/2/layout/IconCircleList"/>
    <dgm:cxn modelId="{E4AE3F04-0E3B-6644-980C-B8ED062F5264}" type="presParOf" srcId="{B486DBD9-088B-48D1-A0F2-B98AC218C858}" destId="{8A22D720-6E53-422F-B3A7-3D81AE780BDE}" srcOrd="5" destOrd="0" presId="urn:microsoft.com/office/officeart/2018/2/layout/IconCircleList"/>
    <dgm:cxn modelId="{C7C4349D-DC33-F741-A6DD-2CD03FB88252}" type="presParOf" srcId="{B486DBD9-088B-48D1-A0F2-B98AC218C858}" destId="{4109558C-C945-42CE-9470-56B7595D7B70}" srcOrd="6" destOrd="0" presId="urn:microsoft.com/office/officeart/2018/2/layout/IconCircleList"/>
    <dgm:cxn modelId="{085F37C1-2CF9-4E4F-8EA0-EC7A1E952B6B}" type="presParOf" srcId="{4109558C-C945-42CE-9470-56B7595D7B70}" destId="{EB1DA8BC-0A2D-4B3A-832C-230B438DD5C5}" srcOrd="0" destOrd="0" presId="urn:microsoft.com/office/officeart/2018/2/layout/IconCircleList"/>
    <dgm:cxn modelId="{E4887E5A-53CD-0149-BA0F-53040252DE1F}" type="presParOf" srcId="{4109558C-C945-42CE-9470-56B7595D7B70}" destId="{F16497D2-E658-4BD4-A118-4214854F0A1A}" srcOrd="1" destOrd="0" presId="urn:microsoft.com/office/officeart/2018/2/layout/IconCircleList"/>
    <dgm:cxn modelId="{D0F7E578-F38B-EA43-A957-DD4729D951F6}" type="presParOf" srcId="{4109558C-C945-42CE-9470-56B7595D7B70}" destId="{DCFEA9B2-58C5-44C4-987C-77377D50083F}" srcOrd="2" destOrd="0" presId="urn:microsoft.com/office/officeart/2018/2/layout/IconCircleList"/>
    <dgm:cxn modelId="{9C5C1B12-6616-2E44-B185-3B9401C2DFAE}" type="presParOf" srcId="{4109558C-C945-42CE-9470-56B7595D7B70}" destId="{71C83509-F132-439D-A292-C546CE1E2B08}" srcOrd="3" destOrd="0" presId="urn:microsoft.com/office/officeart/2018/2/layout/IconCircleList"/>
    <dgm:cxn modelId="{C5463499-522B-4E41-9243-563937E93B8A}" type="presParOf" srcId="{B486DBD9-088B-48D1-A0F2-B98AC218C858}" destId="{5F357907-9377-435E-9A6D-F6E84504E94B}" srcOrd="7" destOrd="0" presId="urn:microsoft.com/office/officeart/2018/2/layout/IconCircleList"/>
    <dgm:cxn modelId="{75EA535A-68AD-104D-9F18-57DCBC59DB2E}" type="presParOf" srcId="{B486DBD9-088B-48D1-A0F2-B98AC218C858}" destId="{590C8063-D975-004A-A10F-371EAB74B562}" srcOrd="8" destOrd="0" presId="urn:microsoft.com/office/officeart/2018/2/layout/IconCircleList"/>
    <dgm:cxn modelId="{4E73DADD-C2FF-5141-B89A-8A2B78BD6C85}" type="presParOf" srcId="{590C8063-D975-004A-A10F-371EAB74B562}" destId="{787B65A0-F9E0-0147-8AEA-DA55EEE39F06}" srcOrd="0" destOrd="0" presId="urn:microsoft.com/office/officeart/2018/2/layout/IconCircleList"/>
    <dgm:cxn modelId="{902ECA87-E4FB-0343-BA64-5E501B69E7C5}" type="presParOf" srcId="{590C8063-D975-004A-A10F-371EAB74B562}" destId="{B0AA1D50-4220-D046-8143-2D2B58C14D83}" srcOrd="1" destOrd="0" presId="urn:microsoft.com/office/officeart/2018/2/layout/IconCircleList"/>
    <dgm:cxn modelId="{D341177B-C2A9-8B49-8460-1443CC3023EA}" type="presParOf" srcId="{590C8063-D975-004A-A10F-371EAB74B562}" destId="{4F6ED994-755C-E846-8749-534B18B412DE}" srcOrd="2" destOrd="0" presId="urn:microsoft.com/office/officeart/2018/2/layout/IconCircleList"/>
    <dgm:cxn modelId="{185764D1-13CE-9A43-9437-986AAC7688F1}" type="presParOf" srcId="{590C8063-D975-004A-A10F-371EAB74B562}" destId="{F9DEF8CF-B543-F24C-8CD5-8133403C2245}" srcOrd="3" destOrd="0" presId="urn:microsoft.com/office/officeart/2018/2/layout/IconCircleList"/>
    <dgm:cxn modelId="{8F522FFA-C517-8F47-86BB-3FEA8631B213}" type="presParOf" srcId="{B486DBD9-088B-48D1-A0F2-B98AC218C858}" destId="{E0E767AF-9CFB-1749-B3FE-76745CB4F38F}" srcOrd="9" destOrd="0" presId="urn:microsoft.com/office/officeart/2018/2/layout/IconCircleList"/>
    <dgm:cxn modelId="{7353F7AA-96BC-854B-8EE4-48A28576A6B6}" type="presParOf" srcId="{B486DBD9-088B-48D1-A0F2-B98AC218C858}" destId="{99CF71FD-F059-614F-B8FB-A85BCABAC9E4}" srcOrd="10" destOrd="0" presId="urn:microsoft.com/office/officeart/2018/2/layout/IconCircleList"/>
    <dgm:cxn modelId="{9D683052-BDDE-A84E-87EE-50FF6048DDB1}" type="presParOf" srcId="{99CF71FD-F059-614F-B8FB-A85BCABAC9E4}" destId="{839DD776-535E-5C47-9179-7D6378F4F2A3}" srcOrd="0" destOrd="0" presId="urn:microsoft.com/office/officeart/2018/2/layout/IconCircleList"/>
    <dgm:cxn modelId="{4E9CBCE6-8E51-8A44-BEC7-D9FE4DC16319}" type="presParOf" srcId="{99CF71FD-F059-614F-B8FB-A85BCABAC9E4}" destId="{96DB47FF-44DE-6B4F-8F33-3187C4C83D2D}" srcOrd="1" destOrd="0" presId="urn:microsoft.com/office/officeart/2018/2/layout/IconCircleList"/>
    <dgm:cxn modelId="{936C7198-5CA7-A549-9B22-01B9A23761EC}" type="presParOf" srcId="{99CF71FD-F059-614F-B8FB-A85BCABAC9E4}" destId="{5454B09D-7DC9-A944-A4DE-713A7BF06804}" srcOrd="2" destOrd="0" presId="urn:microsoft.com/office/officeart/2018/2/layout/IconCircleList"/>
    <dgm:cxn modelId="{0099C897-A7B3-1E42-A4CC-35FDEB0B72F7}" type="presParOf" srcId="{99CF71FD-F059-614F-B8FB-A85BCABAC9E4}" destId="{D2CB12CA-FFEB-E049-8FA7-81BB5FB23780}" srcOrd="3" destOrd="0" presId="urn:microsoft.com/office/officeart/2018/2/layout/IconCircleList"/>
    <dgm:cxn modelId="{976CB7A4-1A9B-A243-BDA0-C59A06E922DB}" type="presParOf" srcId="{B486DBD9-088B-48D1-A0F2-B98AC218C858}" destId="{6845A7E4-075D-4F48-914E-611CB3AAFC53}" srcOrd="11" destOrd="0" presId="urn:microsoft.com/office/officeart/2018/2/layout/IconCircleList"/>
    <dgm:cxn modelId="{A4907232-99E7-7240-8226-A8787E36E41A}" type="presParOf" srcId="{B486DBD9-088B-48D1-A0F2-B98AC218C858}" destId="{CD311FCE-E777-4442-A2E1-57DAC1912289}" srcOrd="12" destOrd="0" presId="urn:microsoft.com/office/officeart/2018/2/layout/IconCircleList"/>
    <dgm:cxn modelId="{CA863140-EA6E-0F40-AF5B-C92ABECE155C}" type="presParOf" srcId="{CD311FCE-E777-4442-A2E1-57DAC1912289}" destId="{B7146FCA-40A9-494C-B410-4D060203D465}" srcOrd="0" destOrd="0" presId="urn:microsoft.com/office/officeart/2018/2/layout/IconCircleList"/>
    <dgm:cxn modelId="{9C562B01-9E1F-DD41-9227-9FEE0D1441E0}" type="presParOf" srcId="{CD311FCE-E777-4442-A2E1-57DAC1912289}" destId="{3B215066-FC50-6A40-A5C3-379F7626E6D7}" srcOrd="1" destOrd="0" presId="urn:microsoft.com/office/officeart/2018/2/layout/IconCircleList"/>
    <dgm:cxn modelId="{1897EDF7-80E7-824D-B23F-5711C15AB3BD}" type="presParOf" srcId="{CD311FCE-E777-4442-A2E1-57DAC1912289}" destId="{E644EEF9-2828-AA4C-9B95-526468136E33}" srcOrd="2" destOrd="0" presId="urn:microsoft.com/office/officeart/2018/2/layout/IconCircleList"/>
    <dgm:cxn modelId="{11EBE511-3A12-394D-BADC-6C3DB44800CD}" type="presParOf" srcId="{CD311FCE-E777-4442-A2E1-57DAC1912289}" destId="{AEEF7F71-025B-4C49-BF7C-EE2FD6D59F8A}"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C7C6161-73F8-D54A-BD71-DE95B3A8818E}"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en-US"/>
        </a:p>
      </dgm:t>
    </dgm:pt>
    <dgm:pt modelId="{DB3A82AF-FC11-4142-A81D-ECB7B2A299EB}">
      <dgm:prSet/>
      <dgm:spPr/>
      <dgm:t>
        <a:bodyPr/>
        <a:lstStyle/>
        <a:p>
          <a:r>
            <a:rPr lang="en-US" b="0" i="0" baseline="0" dirty="0"/>
            <a:t>Vinyl/PVC is 57% Salt</a:t>
          </a:r>
          <a:endParaRPr lang="en-US" dirty="0"/>
        </a:p>
      </dgm:t>
    </dgm:pt>
    <dgm:pt modelId="{3E070282-77B0-C44B-A014-79E1A0F8A09F}" type="parTrans" cxnId="{95A1D065-2688-2847-BDC8-30B48B0843BF}">
      <dgm:prSet/>
      <dgm:spPr/>
      <dgm:t>
        <a:bodyPr/>
        <a:lstStyle/>
        <a:p>
          <a:endParaRPr lang="en-US"/>
        </a:p>
      </dgm:t>
    </dgm:pt>
    <dgm:pt modelId="{35C6E9A8-525B-B140-A0FC-1895CDD5C8E1}" type="sibTrans" cxnId="{95A1D065-2688-2847-BDC8-30B48B0843BF}">
      <dgm:prSet/>
      <dgm:spPr/>
      <dgm:t>
        <a:bodyPr/>
        <a:lstStyle/>
        <a:p>
          <a:endParaRPr lang="en-US"/>
        </a:p>
      </dgm:t>
    </dgm:pt>
    <dgm:pt modelId="{059B1E3F-8981-DE4C-BC2F-3012935A2B05}">
      <dgm:prSet/>
      <dgm:spPr/>
      <dgm:t>
        <a:bodyPr/>
        <a:lstStyle/>
        <a:p>
          <a:r>
            <a:rPr lang="en-US" b="0" i="0" baseline="0" dirty="0"/>
            <a:t>GPS 98% Air</a:t>
          </a:r>
          <a:endParaRPr lang="en-US" dirty="0"/>
        </a:p>
      </dgm:t>
    </dgm:pt>
    <dgm:pt modelId="{4B59B99C-06C1-6E4F-9FB0-A9BC873B0EA1}" type="parTrans" cxnId="{8B9362DB-9AE1-0D45-8479-7DFB21BD4EE8}">
      <dgm:prSet/>
      <dgm:spPr/>
      <dgm:t>
        <a:bodyPr/>
        <a:lstStyle/>
        <a:p>
          <a:endParaRPr lang="en-US"/>
        </a:p>
      </dgm:t>
    </dgm:pt>
    <dgm:pt modelId="{0FCDAA63-ED4C-2E46-9520-6B11D5E6982A}" type="sibTrans" cxnId="{8B9362DB-9AE1-0D45-8479-7DFB21BD4EE8}">
      <dgm:prSet/>
      <dgm:spPr/>
      <dgm:t>
        <a:bodyPr/>
        <a:lstStyle/>
        <a:p>
          <a:endParaRPr lang="en-US"/>
        </a:p>
      </dgm:t>
    </dgm:pt>
    <dgm:pt modelId="{03CC090B-8F75-0C45-AA72-95CFB242C5BB}">
      <dgm:prSet/>
      <dgm:spPr/>
      <dgm:t>
        <a:bodyPr/>
        <a:lstStyle/>
        <a:p>
          <a:r>
            <a:rPr lang="en-US" b="0" i="0" baseline="0" dirty="0"/>
            <a:t>Both 100% Recyclable </a:t>
          </a:r>
          <a:endParaRPr lang="en-US" dirty="0"/>
        </a:p>
      </dgm:t>
    </dgm:pt>
    <dgm:pt modelId="{3C8B0283-D4CC-A346-A5A7-BF347953BAFA}" type="parTrans" cxnId="{D601AF43-3C22-5445-8E64-9B1909B3EC5C}">
      <dgm:prSet/>
      <dgm:spPr/>
      <dgm:t>
        <a:bodyPr/>
        <a:lstStyle/>
        <a:p>
          <a:endParaRPr lang="en-US"/>
        </a:p>
      </dgm:t>
    </dgm:pt>
    <dgm:pt modelId="{32E6AB06-CFE3-8C4F-BC90-A36C047DBA8C}" type="sibTrans" cxnId="{D601AF43-3C22-5445-8E64-9B1909B3EC5C}">
      <dgm:prSet/>
      <dgm:spPr/>
      <dgm:t>
        <a:bodyPr/>
        <a:lstStyle/>
        <a:p>
          <a:endParaRPr lang="en-US"/>
        </a:p>
      </dgm:t>
    </dgm:pt>
    <dgm:pt modelId="{0729E9DF-C6CB-BE4C-BAF8-59D0DDC9D0FA}" type="pres">
      <dgm:prSet presAssocID="{3C7C6161-73F8-D54A-BD71-DE95B3A8818E}" presName="arrowDiagram" presStyleCnt="0">
        <dgm:presLayoutVars>
          <dgm:chMax val="5"/>
          <dgm:dir/>
          <dgm:resizeHandles val="exact"/>
        </dgm:presLayoutVars>
      </dgm:prSet>
      <dgm:spPr/>
    </dgm:pt>
    <dgm:pt modelId="{F71C8285-836C-A746-BDA1-1C9BAD161012}" type="pres">
      <dgm:prSet presAssocID="{3C7C6161-73F8-D54A-BD71-DE95B3A8818E}" presName="arrow" presStyleLbl="bgShp" presStyleIdx="0" presStyleCnt="1"/>
      <dgm:spPr/>
    </dgm:pt>
    <dgm:pt modelId="{41FD42B2-95B0-F744-9703-2893E008DA92}" type="pres">
      <dgm:prSet presAssocID="{3C7C6161-73F8-D54A-BD71-DE95B3A8818E}" presName="arrowDiagram3" presStyleCnt="0"/>
      <dgm:spPr/>
    </dgm:pt>
    <dgm:pt modelId="{406654E0-0D32-0243-9350-2B111F3DA58B}" type="pres">
      <dgm:prSet presAssocID="{DB3A82AF-FC11-4142-A81D-ECB7B2A299EB}" presName="bullet3a" presStyleLbl="node1" presStyleIdx="0" presStyleCnt="3"/>
      <dgm:spPr/>
    </dgm:pt>
    <dgm:pt modelId="{EB73E224-7383-574D-9C5F-D0AE759AFA39}" type="pres">
      <dgm:prSet presAssocID="{DB3A82AF-FC11-4142-A81D-ECB7B2A299EB}" presName="textBox3a" presStyleLbl="revTx" presStyleIdx="0" presStyleCnt="3">
        <dgm:presLayoutVars>
          <dgm:bulletEnabled val="1"/>
        </dgm:presLayoutVars>
      </dgm:prSet>
      <dgm:spPr/>
    </dgm:pt>
    <dgm:pt modelId="{B0CEA18B-277F-6C43-A43E-4A588074D37B}" type="pres">
      <dgm:prSet presAssocID="{059B1E3F-8981-DE4C-BC2F-3012935A2B05}" presName="bullet3b" presStyleLbl="node1" presStyleIdx="1" presStyleCnt="3"/>
      <dgm:spPr/>
    </dgm:pt>
    <dgm:pt modelId="{AD5CD8E1-EE79-3E46-A014-08EE47992622}" type="pres">
      <dgm:prSet presAssocID="{059B1E3F-8981-DE4C-BC2F-3012935A2B05}" presName="textBox3b" presStyleLbl="revTx" presStyleIdx="1" presStyleCnt="3">
        <dgm:presLayoutVars>
          <dgm:bulletEnabled val="1"/>
        </dgm:presLayoutVars>
      </dgm:prSet>
      <dgm:spPr/>
    </dgm:pt>
    <dgm:pt modelId="{270CF492-CF06-AE45-BB8B-C7F1F1166837}" type="pres">
      <dgm:prSet presAssocID="{03CC090B-8F75-0C45-AA72-95CFB242C5BB}" presName="bullet3c" presStyleLbl="node1" presStyleIdx="2" presStyleCnt="3"/>
      <dgm:spPr/>
    </dgm:pt>
    <dgm:pt modelId="{7616DD97-A05A-2E4F-9C88-603A32E711C2}" type="pres">
      <dgm:prSet presAssocID="{03CC090B-8F75-0C45-AA72-95CFB242C5BB}" presName="textBox3c" presStyleLbl="revTx" presStyleIdx="2" presStyleCnt="3">
        <dgm:presLayoutVars>
          <dgm:bulletEnabled val="1"/>
        </dgm:presLayoutVars>
      </dgm:prSet>
      <dgm:spPr/>
    </dgm:pt>
  </dgm:ptLst>
  <dgm:cxnLst>
    <dgm:cxn modelId="{D601AF43-3C22-5445-8E64-9B1909B3EC5C}" srcId="{3C7C6161-73F8-D54A-BD71-DE95B3A8818E}" destId="{03CC090B-8F75-0C45-AA72-95CFB242C5BB}" srcOrd="2" destOrd="0" parTransId="{3C8B0283-D4CC-A346-A5A7-BF347953BAFA}" sibTransId="{32E6AB06-CFE3-8C4F-BC90-A36C047DBA8C}"/>
    <dgm:cxn modelId="{C5F4E24D-3A03-0845-AFA3-A6832ECC4C47}" type="presOf" srcId="{059B1E3F-8981-DE4C-BC2F-3012935A2B05}" destId="{AD5CD8E1-EE79-3E46-A014-08EE47992622}" srcOrd="0" destOrd="0" presId="urn:microsoft.com/office/officeart/2005/8/layout/arrow2"/>
    <dgm:cxn modelId="{F784EC50-6C8E-0541-99B2-747425055F3E}" type="presOf" srcId="{DB3A82AF-FC11-4142-A81D-ECB7B2A299EB}" destId="{EB73E224-7383-574D-9C5F-D0AE759AFA39}" srcOrd="0" destOrd="0" presId="urn:microsoft.com/office/officeart/2005/8/layout/arrow2"/>
    <dgm:cxn modelId="{95A1D065-2688-2847-BDC8-30B48B0843BF}" srcId="{3C7C6161-73F8-D54A-BD71-DE95B3A8818E}" destId="{DB3A82AF-FC11-4142-A81D-ECB7B2A299EB}" srcOrd="0" destOrd="0" parTransId="{3E070282-77B0-C44B-A014-79E1A0F8A09F}" sibTransId="{35C6E9A8-525B-B140-A0FC-1895CDD5C8E1}"/>
    <dgm:cxn modelId="{42FABBA3-C50E-A844-8CD7-C0DF35AD73B9}" type="presOf" srcId="{3C7C6161-73F8-D54A-BD71-DE95B3A8818E}" destId="{0729E9DF-C6CB-BE4C-BAF8-59D0DDC9D0FA}" srcOrd="0" destOrd="0" presId="urn:microsoft.com/office/officeart/2005/8/layout/arrow2"/>
    <dgm:cxn modelId="{9A33B6C0-EE10-844F-A649-5EBC81EF0ABF}" type="presOf" srcId="{03CC090B-8F75-0C45-AA72-95CFB242C5BB}" destId="{7616DD97-A05A-2E4F-9C88-603A32E711C2}" srcOrd="0" destOrd="0" presId="urn:microsoft.com/office/officeart/2005/8/layout/arrow2"/>
    <dgm:cxn modelId="{8B9362DB-9AE1-0D45-8479-7DFB21BD4EE8}" srcId="{3C7C6161-73F8-D54A-BD71-DE95B3A8818E}" destId="{059B1E3F-8981-DE4C-BC2F-3012935A2B05}" srcOrd="1" destOrd="0" parTransId="{4B59B99C-06C1-6E4F-9FB0-A9BC873B0EA1}" sibTransId="{0FCDAA63-ED4C-2E46-9520-6B11D5E6982A}"/>
    <dgm:cxn modelId="{FDD48FA1-3FFB-C94B-8C3A-6D53980388BD}" type="presParOf" srcId="{0729E9DF-C6CB-BE4C-BAF8-59D0DDC9D0FA}" destId="{F71C8285-836C-A746-BDA1-1C9BAD161012}" srcOrd="0" destOrd="0" presId="urn:microsoft.com/office/officeart/2005/8/layout/arrow2"/>
    <dgm:cxn modelId="{E7F7B8D1-1F29-8349-8D6B-CFEC654DA24A}" type="presParOf" srcId="{0729E9DF-C6CB-BE4C-BAF8-59D0DDC9D0FA}" destId="{41FD42B2-95B0-F744-9703-2893E008DA92}" srcOrd="1" destOrd="0" presId="urn:microsoft.com/office/officeart/2005/8/layout/arrow2"/>
    <dgm:cxn modelId="{799319E5-05DD-CC4E-AF06-B4D1438A6966}" type="presParOf" srcId="{41FD42B2-95B0-F744-9703-2893E008DA92}" destId="{406654E0-0D32-0243-9350-2B111F3DA58B}" srcOrd="0" destOrd="0" presId="urn:microsoft.com/office/officeart/2005/8/layout/arrow2"/>
    <dgm:cxn modelId="{27218CAE-CC6B-6249-B08C-B233E9CE1988}" type="presParOf" srcId="{41FD42B2-95B0-F744-9703-2893E008DA92}" destId="{EB73E224-7383-574D-9C5F-D0AE759AFA39}" srcOrd="1" destOrd="0" presId="urn:microsoft.com/office/officeart/2005/8/layout/arrow2"/>
    <dgm:cxn modelId="{3E55BDBE-7A63-654B-9FAE-B9121B97FC68}" type="presParOf" srcId="{41FD42B2-95B0-F744-9703-2893E008DA92}" destId="{B0CEA18B-277F-6C43-A43E-4A588074D37B}" srcOrd="2" destOrd="0" presId="urn:microsoft.com/office/officeart/2005/8/layout/arrow2"/>
    <dgm:cxn modelId="{CB702A4F-2CB5-A348-9C72-EA8A852C1CD1}" type="presParOf" srcId="{41FD42B2-95B0-F744-9703-2893E008DA92}" destId="{AD5CD8E1-EE79-3E46-A014-08EE47992622}" srcOrd="3" destOrd="0" presId="urn:microsoft.com/office/officeart/2005/8/layout/arrow2"/>
    <dgm:cxn modelId="{A71C94B8-C051-F342-B7A3-7D203686F79C}" type="presParOf" srcId="{41FD42B2-95B0-F744-9703-2893E008DA92}" destId="{270CF492-CF06-AE45-BB8B-C7F1F1166837}" srcOrd="4" destOrd="0" presId="urn:microsoft.com/office/officeart/2005/8/layout/arrow2"/>
    <dgm:cxn modelId="{BC4645AD-49DA-0047-B8A8-22FA43BA1A2E}" type="presParOf" srcId="{41FD42B2-95B0-F744-9703-2893E008DA92}" destId="{7616DD97-A05A-2E4F-9C88-603A32E711C2}" srcOrd="5"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8D49BFD-2B5B-4E9D-9FD4-15FDEA4B7FA5}" type="doc">
      <dgm:prSet loTypeId="urn:microsoft.com/office/officeart/2005/8/layout/radial5" loCatId="process" qsTypeId="urn:microsoft.com/office/officeart/2005/8/quickstyle/simple1" qsCatId="simple" csTypeId="urn:microsoft.com/office/officeart/2005/8/colors/accent3_2" csCatId="accent3" phldr="1"/>
      <dgm:spPr/>
      <dgm:t>
        <a:bodyPr/>
        <a:lstStyle/>
        <a:p>
          <a:endParaRPr lang="en-US"/>
        </a:p>
      </dgm:t>
    </dgm:pt>
    <dgm:pt modelId="{B9E34721-9C8B-CD47-B1D3-7F78845CC6BE}">
      <dgm:prSet/>
      <dgm:spPr>
        <a:solidFill>
          <a:schemeClr val="tx1">
            <a:lumMod val="50000"/>
            <a:lumOff val="50000"/>
          </a:schemeClr>
        </a:solidFill>
      </dgm:spPr>
      <dgm:t>
        <a:bodyPr/>
        <a:lstStyle/>
        <a:p>
          <a:r>
            <a:rPr lang="en-US" dirty="0">
              <a:solidFill>
                <a:schemeClr val="bg2"/>
              </a:solidFill>
            </a:rPr>
            <a:t>Lightweight</a:t>
          </a:r>
        </a:p>
      </dgm:t>
    </dgm:pt>
    <dgm:pt modelId="{9DC20293-0A6C-4743-B785-9FDBC53DF9FD}" type="parTrans" cxnId="{4B67223F-A3CD-E444-ACA5-1D733C238071}">
      <dgm:prSet/>
      <dgm:spPr/>
      <dgm:t>
        <a:bodyPr/>
        <a:lstStyle/>
        <a:p>
          <a:endParaRPr lang="en-US" dirty="0">
            <a:solidFill>
              <a:sysClr val="windowText" lastClr="000000"/>
            </a:solidFill>
          </a:endParaRPr>
        </a:p>
      </dgm:t>
    </dgm:pt>
    <dgm:pt modelId="{F896EA67-214A-2C43-97A0-8D211EEECFC5}" type="sibTrans" cxnId="{4B67223F-A3CD-E444-ACA5-1D733C238071}">
      <dgm:prSet/>
      <dgm:spPr/>
      <dgm:t>
        <a:bodyPr/>
        <a:lstStyle/>
        <a:p>
          <a:endParaRPr lang="en-US">
            <a:solidFill>
              <a:sysClr val="windowText" lastClr="000000"/>
            </a:solidFill>
          </a:endParaRPr>
        </a:p>
      </dgm:t>
    </dgm:pt>
    <dgm:pt modelId="{31F49B21-D6FA-6E41-BEBB-7D4541E42847}">
      <dgm:prSet/>
      <dgm:spPr>
        <a:solidFill>
          <a:schemeClr val="tx1">
            <a:lumMod val="50000"/>
            <a:lumOff val="50000"/>
          </a:schemeClr>
        </a:solidFill>
      </dgm:spPr>
      <dgm:t>
        <a:bodyPr/>
        <a:lstStyle/>
        <a:p>
          <a:r>
            <a:rPr lang="en-US" dirty="0">
              <a:solidFill>
                <a:schemeClr val="bg2"/>
              </a:solidFill>
            </a:rPr>
            <a:t>Resilient</a:t>
          </a:r>
        </a:p>
      </dgm:t>
    </dgm:pt>
    <dgm:pt modelId="{D58BBEB6-5BA8-994E-B670-F3CC7B3D831E}" type="parTrans" cxnId="{A8A30D74-FB13-1A46-AF1F-830B45AA653E}">
      <dgm:prSet/>
      <dgm:spPr/>
      <dgm:t>
        <a:bodyPr/>
        <a:lstStyle/>
        <a:p>
          <a:endParaRPr lang="en-US" dirty="0">
            <a:solidFill>
              <a:sysClr val="windowText" lastClr="000000"/>
            </a:solidFill>
          </a:endParaRPr>
        </a:p>
      </dgm:t>
    </dgm:pt>
    <dgm:pt modelId="{6F3ABB35-07D9-194E-8637-07985B756287}" type="sibTrans" cxnId="{A8A30D74-FB13-1A46-AF1F-830B45AA653E}">
      <dgm:prSet/>
      <dgm:spPr/>
      <dgm:t>
        <a:bodyPr/>
        <a:lstStyle/>
        <a:p>
          <a:endParaRPr lang="en-US">
            <a:solidFill>
              <a:sysClr val="windowText" lastClr="000000"/>
            </a:solidFill>
          </a:endParaRPr>
        </a:p>
      </dgm:t>
    </dgm:pt>
    <dgm:pt modelId="{222A9AA3-3535-DA44-B559-73BC1D251944}">
      <dgm:prSet/>
      <dgm:spPr>
        <a:solidFill>
          <a:schemeClr val="tx1">
            <a:lumMod val="50000"/>
            <a:lumOff val="50000"/>
          </a:schemeClr>
        </a:solidFill>
      </dgm:spPr>
      <dgm:t>
        <a:bodyPr anchor="t"/>
        <a:lstStyle/>
        <a:p>
          <a:pPr>
            <a:lnSpc>
              <a:spcPct val="150000"/>
            </a:lnSpc>
          </a:pPr>
          <a:r>
            <a:rPr lang="en-US" dirty="0">
              <a:solidFill>
                <a:schemeClr val="bg2"/>
              </a:solidFill>
            </a:rPr>
            <a:t>GPS Insulated Vinyl Siding </a:t>
          </a:r>
        </a:p>
      </dgm:t>
    </dgm:pt>
    <dgm:pt modelId="{7288A2FF-8C8B-F144-ACB9-D81ABCDC139B}" type="parTrans" cxnId="{3E1A69EA-9F44-1448-ACFE-2728EEC5B269}">
      <dgm:prSet/>
      <dgm:spPr/>
      <dgm:t>
        <a:bodyPr/>
        <a:lstStyle/>
        <a:p>
          <a:endParaRPr lang="en-US">
            <a:solidFill>
              <a:sysClr val="windowText" lastClr="000000"/>
            </a:solidFill>
          </a:endParaRPr>
        </a:p>
      </dgm:t>
    </dgm:pt>
    <dgm:pt modelId="{082AADF9-2324-354F-A079-3463B4EC3BCF}" type="sibTrans" cxnId="{3E1A69EA-9F44-1448-ACFE-2728EEC5B269}">
      <dgm:prSet/>
      <dgm:spPr/>
      <dgm:t>
        <a:bodyPr/>
        <a:lstStyle/>
        <a:p>
          <a:endParaRPr lang="en-US">
            <a:solidFill>
              <a:sysClr val="windowText" lastClr="000000"/>
            </a:solidFill>
          </a:endParaRPr>
        </a:p>
      </dgm:t>
    </dgm:pt>
    <dgm:pt modelId="{D293B2DC-65F3-DF43-B343-F3FF0D61850C}">
      <dgm:prSet/>
      <dgm:spPr>
        <a:solidFill>
          <a:schemeClr val="tx1">
            <a:lumMod val="50000"/>
            <a:lumOff val="50000"/>
          </a:schemeClr>
        </a:solidFill>
        <a:ln>
          <a:noFill/>
        </a:ln>
      </dgm:spPr>
      <dgm:t>
        <a:bodyPr/>
        <a:lstStyle/>
        <a:p>
          <a:r>
            <a:rPr lang="en-US" dirty="0">
              <a:solidFill>
                <a:schemeClr val="bg2">
                  <a:lumMod val="95000"/>
                </a:schemeClr>
              </a:solidFill>
            </a:rPr>
            <a:t>Reduces Energy Demand</a:t>
          </a:r>
        </a:p>
      </dgm:t>
    </dgm:pt>
    <dgm:pt modelId="{F4F6CF67-84B3-1A42-AB36-3368E54F73AE}" type="parTrans" cxnId="{A0FAA1E4-F099-9A4A-A82D-D8BC280582C3}">
      <dgm:prSet/>
      <dgm:spPr/>
      <dgm:t>
        <a:bodyPr/>
        <a:lstStyle/>
        <a:p>
          <a:endParaRPr lang="en-US" dirty="0">
            <a:solidFill>
              <a:sysClr val="windowText" lastClr="000000"/>
            </a:solidFill>
          </a:endParaRPr>
        </a:p>
      </dgm:t>
    </dgm:pt>
    <dgm:pt modelId="{D830BE1D-EDD0-AA4A-ADA9-CD7DC5217A11}" type="sibTrans" cxnId="{A0FAA1E4-F099-9A4A-A82D-D8BC280582C3}">
      <dgm:prSet/>
      <dgm:spPr/>
      <dgm:t>
        <a:bodyPr/>
        <a:lstStyle/>
        <a:p>
          <a:endParaRPr lang="en-US">
            <a:solidFill>
              <a:sysClr val="windowText" lastClr="000000"/>
            </a:solidFill>
          </a:endParaRPr>
        </a:p>
      </dgm:t>
    </dgm:pt>
    <dgm:pt modelId="{50A392B4-A16E-0B46-8C0B-3DE8D2DEB602}">
      <dgm:prSet/>
      <dgm:spPr>
        <a:solidFill>
          <a:schemeClr val="tx1">
            <a:lumMod val="50000"/>
            <a:lumOff val="50000"/>
          </a:schemeClr>
        </a:solidFill>
      </dgm:spPr>
      <dgm:t>
        <a:bodyPr/>
        <a:lstStyle/>
        <a:p>
          <a:r>
            <a:rPr lang="en-US" dirty="0">
              <a:solidFill>
                <a:schemeClr val="bg2"/>
              </a:solidFill>
            </a:rPr>
            <a:t>Low maintenance </a:t>
          </a:r>
        </a:p>
      </dgm:t>
    </dgm:pt>
    <dgm:pt modelId="{0FF80CEC-DAA6-1E48-BF3E-87D8B3FF6C7E}" type="sibTrans" cxnId="{2F759C4A-4C5A-574E-81C1-86BD0A6E8644}">
      <dgm:prSet/>
      <dgm:spPr/>
      <dgm:t>
        <a:bodyPr/>
        <a:lstStyle/>
        <a:p>
          <a:endParaRPr lang="en-US">
            <a:solidFill>
              <a:sysClr val="windowText" lastClr="000000"/>
            </a:solidFill>
          </a:endParaRPr>
        </a:p>
      </dgm:t>
    </dgm:pt>
    <dgm:pt modelId="{FD8999CF-D1E9-6B41-B05D-AAA79460ABBE}" type="parTrans" cxnId="{2F759C4A-4C5A-574E-81C1-86BD0A6E8644}">
      <dgm:prSet/>
      <dgm:spPr/>
      <dgm:t>
        <a:bodyPr/>
        <a:lstStyle/>
        <a:p>
          <a:endParaRPr lang="en-US" dirty="0">
            <a:solidFill>
              <a:sysClr val="windowText" lastClr="000000"/>
            </a:solidFill>
          </a:endParaRPr>
        </a:p>
      </dgm:t>
    </dgm:pt>
    <dgm:pt modelId="{CB2E7BAA-17CF-3646-B5A6-617D2CCEB991}">
      <dgm:prSet/>
      <dgm:spPr>
        <a:solidFill>
          <a:schemeClr val="tx1">
            <a:lumMod val="50000"/>
            <a:lumOff val="50000"/>
          </a:schemeClr>
        </a:solidFill>
      </dgm:spPr>
      <dgm:t>
        <a:bodyPr/>
        <a:lstStyle/>
        <a:p>
          <a:r>
            <a:rPr lang="en-US" dirty="0">
              <a:solidFill>
                <a:schemeClr val="bg2"/>
              </a:solidFill>
            </a:rPr>
            <a:t>Continuous Insulation</a:t>
          </a:r>
        </a:p>
      </dgm:t>
    </dgm:pt>
    <dgm:pt modelId="{79361BB0-E80C-C64C-916C-F5F2CE66D2E4}" type="parTrans" cxnId="{30A35A13-9267-9646-A663-A0674275AE00}">
      <dgm:prSet/>
      <dgm:spPr/>
      <dgm:t>
        <a:bodyPr/>
        <a:lstStyle/>
        <a:p>
          <a:endParaRPr lang="en-US" dirty="0"/>
        </a:p>
      </dgm:t>
    </dgm:pt>
    <dgm:pt modelId="{C6FD217C-C765-2E49-9CFA-D1C426F86F82}" type="sibTrans" cxnId="{30A35A13-9267-9646-A663-A0674275AE00}">
      <dgm:prSet/>
      <dgm:spPr/>
      <dgm:t>
        <a:bodyPr/>
        <a:lstStyle/>
        <a:p>
          <a:endParaRPr lang="en-US"/>
        </a:p>
      </dgm:t>
    </dgm:pt>
    <dgm:pt modelId="{1B01953D-08DB-7645-9600-0410942838E4}">
      <dgm:prSet/>
      <dgm:spPr>
        <a:solidFill>
          <a:schemeClr val="tx1">
            <a:lumMod val="50000"/>
            <a:lumOff val="50000"/>
          </a:schemeClr>
        </a:solidFill>
      </dgm:spPr>
      <dgm:t>
        <a:bodyPr/>
        <a:lstStyle/>
        <a:p>
          <a:r>
            <a:rPr lang="en-US" dirty="0">
              <a:solidFill>
                <a:schemeClr val="bg2"/>
              </a:solidFill>
            </a:rPr>
            <a:t>Resource Efficient </a:t>
          </a:r>
        </a:p>
      </dgm:t>
    </dgm:pt>
    <dgm:pt modelId="{37D5B6BF-81DD-014F-BB3F-E2B3EF081BC8}" type="parTrans" cxnId="{9263AC76-0731-5F45-955E-C8331CA85F17}">
      <dgm:prSet/>
      <dgm:spPr/>
      <dgm:t>
        <a:bodyPr/>
        <a:lstStyle/>
        <a:p>
          <a:endParaRPr lang="en-US" dirty="0"/>
        </a:p>
      </dgm:t>
    </dgm:pt>
    <dgm:pt modelId="{00F1C62B-3657-9244-BCD2-87C5A3DAD902}" type="sibTrans" cxnId="{9263AC76-0731-5F45-955E-C8331CA85F17}">
      <dgm:prSet/>
      <dgm:spPr/>
      <dgm:t>
        <a:bodyPr/>
        <a:lstStyle/>
        <a:p>
          <a:endParaRPr lang="en-US"/>
        </a:p>
      </dgm:t>
    </dgm:pt>
    <dgm:pt modelId="{0EF46447-C7BD-8347-BD9B-99952E7185DE}">
      <dgm:prSet/>
      <dgm:spPr>
        <a:solidFill>
          <a:schemeClr val="tx1">
            <a:lumMod val="50000"/>
            <a:lumOff val="50000"/>
          </a:schemeClr>
        </a:solidFill>
        <a:ln>
          <a:noFill/>
        </a:ln>
      </dgm:spPr>
      <dgm:t>
        <a:bodyPr/>
        <a:lstStyle/>
        <a:p>
          <a:r>
            <a:rPr lang="en-US" dirty="0">
              <a:solidFill>
                <a:schemeClr val="bg2">
                  <a:lumMod val="95000"/>
                </a:schemeClr>
              </a:solidFill>
            </a:rPr>
            <a:t>Less Embodied Carbon</a:t>
          </a:r>
        </a:p>
      </dgm:t>
    </dgm:pt>
    <dgm:pt modelId="{9BAEBA1A-2326-A34F-AE4D-567CAD9DECEC}" type="parTrans" cxnId="{9D903FE3-0471-314F-AE60-29B87F6C6E8C}">
      <dgm:prSet/>
      <dgm:spPr/>
      <dgm:t>
        <a:bodyPr/>
        <a:lstStyle/>
        <a:p>
          <a:endParaRPr lang="en-US" dirty="0"/>
        </a:p>
      </dgm:t>
    </dgm:pt>
    <dgm:pt modelId="{D15A4C4D-1C2D-1247-8BBC-5984AF140DBD}" type="sibTrans" cxnId="{9D903FE3-0471-314F-AE60-29B87F6C6E8C}">
      <dgm:prSet/>
      <dgm:spPr/>
      <dgm:t>
        <a:bodyPr/>
        <a:lstStyle/>
        <a:p>
          <a:endParaRPr lang="en-US"/>
        </a:p>
      </dgm:t>
    </dgm:pt>
    <dgm:pt modelId="{4B01BE7A-D537-FF40-83F4-2A295165F194}">
      <dgm:prSet/>
      <dgm:spPr>
        <a:solidFill>
          <a:schemeClr val="tx1">
            <a:lumMod val="50000"/>
            <a:lumOff val="50000"/>
          </a:schemeClr>
        </a:solidFill>
        <a:ln>
          <a:noFill/>
        </a:ln>
      </dgm:spPr>
      <dgm:t>
        <a:bodyPr/>
        <a:lstStyle/>
        <a:p>
          <a:r>
            <a:rPr lang="en-US" dirty="0">
              <a:solidFill>
                <a:schemeClr val="bg2">
                  <a:lumMod val="95000"/>
                </a:schemeClr>
              </a:solidFill>
            </a:rPr>
            <a:t>Recyclable  </a:t>
          </a:r>
        </a:p>
      </dgm:t>
    </dgm:pt>
    <dgm:pt modelId="{DB529D8D-C2E4-7245-ACF9-EA414844CDA9}" type="parTrans" cxnId="{4445218D-9FAB-3643-B39A-2BA5D7A39D3A}">
      <dgm:prSet/>
      <dgm:spPr/>
      <dgm:t>
        <a:bodyPr/>
        <a:lstStyle/>
        <a:p>
          <a:endParaRPr lang="en-US" dirty="0"/>
        </a:p>
      </dgm:t>
    </dgm:pt>
    <dgm:pt modelId="{859EFB5A-9ED2-CD40-90AE-DE2261FF5830}" type="sibTrans" cxnId="{4445218D-9FAB-3643-B39A-2BA5D7A39D3A}">
      <dgm:prSet/>
      <dgm:spPr/>
      <dgm:t>
        <a:bodyPr/>
        <a:lstStyle/>
        <a:p>
          <a:endParaRPr lang="en-US"/>
        </a:p>
      </dgm:t>
    </dgm:pt>
    <dgm:pt modelId="{F156BE2C-EC99-8E40-BA9D-DDE75572F1F9}" type="pres">
      <dgm:prSet presAssocID="{F8D49BFD-2B5B-4E9D-9FD4-15FDEA4B7FA5}" presName="Name0" presStyleCnt="0">
        <dgm:presLayoutVars>
          <dgm:chMax val="1"/>
          <dgm:dir/>
          <dgm:animLvl val="ctr"/>
          <dgm:resizeHandles val="exact"/>
        </dgm:presLayoutVars>
      </dgm:prSet>
      <dgm:spPr/>
    </dgm:pt>
    <dgm:pt modelId="{2404ECCE-06DC-1848-A14F-17A1385BA5F4}" type="pres">
      <dgm:prSet presAssocID="{222A9AA3-3535-DA44-B559-73BC1D251944}" presName="centerShape" presStyleLbl="node0" presStyleIdx="0" presStyleCnt="1" custScaleX="127994" custScaleY="134027"/>
      <dgm:spPr/>
    </dgm:pt>
    <dgm:pt modelId="{5AB65319-8B85-BC4E-A6D9-D90ECAB89474}" type="pres">
      <dgm:prSet presAssocID="{79361BB0-E80C-C64C-916C-F5F2CE66D2E4}" presName="parTrans" presStyleLbl="sibTrans2D1" presStyleIdx="0" presStyleCnt="8"/>
      <dgm:spPr/>
    </dgm:pt>
    <dgm:pt modelId="{30E87F2B-170D-AF4C-BE14-CDA202FC37B0}" type="pres">
      <dgm:prSet presAssocID="{79361BB0-E80C-C64C-916C-F5F2CE66D2E4}" presName="connectorText" presStyleLbl="sibTrans2D1" presStyleIdx="0" presStyleCnt="8"/>
      <dgm:spPr/>
    </dgm:pt>
    <dgm:pt modelId="{A5B58896-965F-EA40-AEC3-CC004B4583A3}" type="pres">
      <dgm:prSet presAssocID="{CB2E7BAA-17CF-3646-B5A6-617D2CCEB991}" presName="node" presStyleLbl="node1" presStyleIdx="0" presStyleCnt="8">
        <dgm:presLayoutVars>
          <dgm:bulletEnabled val="1"/>
        </dgm:presLayoutVars>
      </dgm:prSet>
      <dgm:spPr/>
    </dgm:pt>
    <dgm:pt modelId="{A2165FF7-9BBD-9A4E-9529-AF1AE8BBBC7F}" type="pres">
      <dgm:prSet presAssocID="{9DC20293-0A6C-4743-B785-9FDBC53DF9FD}" presName="parTrans" presStyleLbl="sibTrans2D1" presStyleIdx="1" presStyleCnt="8"/>
      <dgm:spPr/>
    </dgm:pt>
    <dgm:pt modelId="{FAA8EFDB-DE0E-FF47-8B7A-C0211EBDE2CA}" type="pres">
      <dgm:prSet presAssocID="{9DC20293-0A6C-4743-B785-9FDBC53DF9FD}" presName="connectorText" presStyleLbl="sibTrans2D1" presStyleIdx="1" presStyleCnt="8"/>
      <dgm:spPr/>
    </dgm:pt>
    <dgm:pt modelId="{2CA96873-FC09-8244-9DD0-F19772BEAA14}" type="pres">
      <dgm:prSet presAssocID="{B9E34721-9C8B-CD47-B1D3-7F78845CC6BE}" presName="node" presStyleLbl="node1" presStyleIdx="1" presStyleCnt="8">
        <dgm:presLayoutVars>
          <dgm:bulletEnabled val="1"/>
        </dgm:presLayoutVars>
      </dgm:prSet>
      <dgm:spPr/>
    </dgm:pt>
    <dgm:pt modelId="{CAFA0CE4-50A9-8D47-8DBC-E9997A1F8657}" type="pres">
      <dgm:prSet presAssocID="{37D5B6BF-81DD-014F-BB3F-E2B3EF081BC8}" presName="parTrans" presStyleLbl="sibTrans2D1" presStyleIdx="2" presStyleCnt="8"/>
      <dgm:spPr/>
    </dgm:pt>
    <dgm:pt modelId="{7BD0C36C-17EF-4246-AF78-2AF723D84BFA}" type="pres">
      <dgm:prSet presAssocID="{37D5B6BF-81DD-014F-BB3F-E2B3EF081BC8}" presName="connectorText" presStyleLbl="sibTrans2D1" presStyleIdx="2" presStyleCnt="8"/>
      <dgm:spPr/>
    </dgm:pt>
    <dgm:pt modelId="{02C5EEE2-B376-074D-8FC1-34D5CC1DF646}" type="pres">
      <dgm:prSet presAssocID="{1B01953D-08DB-7645-9600-0410942838E4}" presName="node" presStyleLbl="node1" presStyleIdx="2" presStyleCnt="8">
        <dgm:presLayoutVars>
          <dgm:bulletEnabled val="1"/>
        </dgm:presLayoutVars>
      </dgm:prSet>
      <dgm:spPr/>
    </dgm:pt>
    <dgm:pt modelId="{4EC3BB2E-74D6-C141-851A-58B08DE36F84}" type="pres">
      <dgm:prSet presAssocID="{FD8999CF-D1E9-6B41-B05D-AAA79460ABBE}" presName="parTrans" presStyleLbl="sibTrans2D1" presStyleIdx="3" presStyleCnt="8"/>
      <dgm:spPr/>
    </dgm:pt>
    <dgm:pt modelId="{EE5402DF-93CA-6049-AA26-44C4FB60AE41}" type="pres">
      <dgm:prSet presAssocID="{FD8999CF-D1E9-6B41-B05D-AAA79460ABBE}" presName="connectorText" presStyleLbl="sibTrans2D1" presStyleIdx="3" presStyleCnt="8"/>
      <dgm:spPr/>
    </dgm:pt>
    <dgm:pt modelId="{36A303C7-4D4F-284E-A69C-EBFABE531924}" type="pres">
      <dgm:prSet presAssocID="{50A392B4-A16E-0B46-8C0B-3DE8D2DEB602}" presName="node" presStyleLbl="node1" presStyleIdx="3" presStyleCnt="8">
        <dgm:presLayoutVars>
          <dgm:bulletEnabled val="1"/>
        </dgm:presLayoutVars>
      </dgm:prSet>
      <dgm:spPr/>
    </dgm:pt>
    <dgm:pt modelId="{D3532236-D4C0-BD46-B98F-2C9438F4ED1B}" type="pres">
      <dgm:prSet presAssocID="{D58BBEB6-5BA8-994E-B670-F3CC7B3D831E}" presName="parTrans" presStyleLbl="sibTrans2D1" presStyleIdx="4" presStyleCnt="8"/>
      <dgm:spPr/>
    </dgm:pt>
    <dgm:pt modelId="{7A509ED9-8ACD-D049-8E2E-631FD84020BB}" type="pres">
      <dgm:prSet presAssocID="{D58BBEB6-5BA8-994E-B670-F3CC7B3D831E}" presName="connectorText" presStyleLbl="sibTrans2D1" presStyleIdx="4" presStyleCnt="8"/>
      <dgm:spPr/>
    </dgm:pt>
    <dgm:pt modelId="{36FAD62B-39F1-D14A-A76C-FBA5791D9D52}" type="pres">
      <dgm:prSet presAssocID="{31F49B21-D6FA-6E41-BEBB-7D4541E42847}" presName="node" presStyleLbl="node1" presStyleIdx="4" presStyleCnt="8" custRadScaleRad="104834" custRadScaleInc="4444">
        <dgm:presLayoutVars>
          <dgm:bulletEnabled val="1"/>
        </dgm:presLayoutVars>
      </dgm:prSet>
      <dgm:spPr/>
    </dgm:pt>
    <dgm:pt modelId="{F4416241-BDAB-EB43-864B-2D3EDCED68AD}" type="pres">
      <dgm:prSet presAssocID="{F4F6CF67-84B3-1A42-AB36-3368E54F73AE}" presName="parTrans" presStyleLbl="sibTrans2D1" presStyleIdx="5" presStyleCnt="8"/>
      <dgm:spPr/>
    </dgm:pt>
    <dgm:pt modelId="{95C4972F-975F-364E-9AA1-A4C20B21C8CE}" type="pres">
      <dgm:prSet presAssocID="{F4F6CF67-84B3-1A42-AB36-3368E54F73AE}" presName="connectorText" presStyleLbl="sibTrans2D1" presStyleIdx="5" presStyleCnt="8"/>
      <dgm:spPr/>
    </dgm:pt>
    <dgm:pt modelId="{BD848E03-D2B5-5D47-A113-9990B35B36E8}" type="pres">
      <dgm:prSet presAssocID="{D293B2DC-65F3-DF43-B343-F3FF0D61850C}" presName="node" presStyleLbl="node1" presStyleIdx="5" presStyleCnt="8" custRadScaleRad="103584" custRadScaleInc="9422">
        <dgm:presLayoutVars>
          <dgm:bulletEnabled val="1"/>
        </dgm:presLayoutVars>
      </dgm:prSet>
      <dgm:spPr/>
    </dgm:pt>
    <dgm:pt modelId="{A03F7377-C63C-0B41-879E-490A0B5C8CFC}" type="pres">
      <dgm:prSet presAssocID="{9BAEBA1A-2326-A34F-AE4D-567CAD9DECEC}" presName="parTrans" presStyleLbl="sibTrans2D1" presStyleIdx="6" presStyleCnt="8"/>
      <dgm:spPr/>
    </dgm:pt>
    <dgm:pt modelId="{DA069C33-9EC6-474C-9B23-32C34D664D78}" type="pres">
      <dgm:prSet presAssocID="{9BAEBA1A-2326-A34F-AE4D-567CAD9DECEC}" presName="connectorText" presStyleLbl="sibTrans2D1" presStyleIdx="6" presStyleCnt="8"/>
      <dgm:spPr/>
    </dgm:pt>
    <dgm:pt modelId="{C68F4161-C3A8-BD41-86BE-337A0DD9718A}" type="pres">
      <dgm:prSet presAssocID="{0EF46447-C7BD-8347-BD9B-99952E7185DE}" presName="node" presStyleLbl="node1" presStyleIdx="6" presStyleCnt="8">
        <dgm:presLayoutVars>
          <dgm:bulletEnabled val="1"/>
        </dgm:presLayoutVars>
      </dgm:prSet>
      <dgm:spPr/>
    </dgm:pt>
    <dgm:pt modelId="{33E33266-0876-0C43-917E-174EBF5806EE}" type="pres">
      <dgm:prSet presAssocID="{DB529D8D-C2E4-7245-ACF9-EA414844CDA9}" presName="parTrans" presStyleLbl="sibTrans2D1" presStyleIdx="7" presStyleCnt="8"/>
      <dgm:spPr/>
    </dgm:pt>
    <dgm:pt modelId="{68E3241B-9F97-3A4F-88DE-72FEEC42FF38}" type="pres">
      <dgm:prSet presAssocID="{DB529D8D-C2E4-7245-ACF9-EA414844CDA9}" presName="connectorText" presStyleLbl="sibTrans2D1" presStyleIdx="7" presStyleCnt="8"/>
      <dgm:spPr/>
    </dgm:pt>
    <dgm:pt modelId="{F09F36E8-9253-5841-BE97-259167C345FA}" type="pres">
      <dgm:prSet presAssocID="{4B01BE7A-D537-FF40-83F4-2A295165F194}" presName="node" presStyleLbl="node1" presStyleIdx="7" presStyleCnt="8">
        <dgm:presLayoutVars>
          <dgm:bulletEnabled val="1"/>
        </dgm:presLayoutVars>
      </dgm:prSet>
      <dgm:spPr/>
    </dgm:pt>
  </dgm:ptLst>
  <dgm:cxnLst>
    <dgm:cxn modelId="{0FE3F70C-098C-6243-BC3F-84F0F9868659}" type="presOf" srcId="{FD8999CF-D1E9-6B41-B05D-AAA79460ABBE}" destId="{EE5402DF-93CA-6049-AA26-44C4FB60AE41}" srcOrd="1" destOrd="0" presId="urn:microsoft.com/office/officeart/2005/8/layout/radial5"/>
    <dgm:cxn modelId="{30A35A13-9267-9646-A663-A0674275AE00}" srcId="{222A9AA3-3535-DA44-B559-73BC1D251944}" destId="{CB2E7BAA-17CF-3646-B5A6-617D2CCEB991}" srcOrd="0" destOrd="0" parTransId="{79361BB0-E80C-C64C-916C-F5F2CE66D2E4}" sibTransId="{C6FD217C-C765-2E49-9CFA-D1C426F86F82}"/>
    <dgm:cxn modelId="{7D3D6A32-ABE4-FC46-AE01-256605325541}" type="presOf" srcId="{9DC20293-0A6C-4743-B785-9FDBC53DF9FD}" destId="{A2165FF7-9BBD-9A4E-9529-AF1AE8BBBC7F}" srcOrd="0" destOrd="0" presId="urn:microsoft.com/office/officeart/2005/8/layout/radial5"/>
    <dgm:cxn modelId="{211AFB39-4454-6141-BEBF-2870A1749E22}" type="presOf" srcId="{F4F6CF67-84B3-1A42-AB36-3368E54F73AE}" destId="{95C4972F-975F-364E-9AA1-A4C20B21C8CE}" srcOrd="1" destOrd="0" presId="urn:microsoft.com/office/officeart/2005/8/layout/radial5"/>
    <dgm:cxn modelId="{9A1F123C-12A5-F347-8A97-B5AAAD02F65F}" type="presOf" srcId="{F8D49BFD-2B5B-4E9D-9FD4-15FDEA4B7FA5}" destId="{F156BE2C-EC99-8E40-BA9D-DDE75572F1F9}" srcOrd="0" destOrd="0" presId="urn:microsoft.com/office/officeart/2005/8/layout/radial5"/>
    <dgm:cxn modelId="{4B67223F-A3CD-E444-ACA5-1D733C238071}" srcId="{222A9AA3-3535-DA44-B559-73BC1D251944}" destId="{B9E34721-9C8B-CD47-B1D3-7F78845CC6BE}" srcOrd="1" destOrd="0" parTransId="{9DC20293-0A6C-4743-B785-9FDBC53DF9FD}" sibTransId="{F896EA67-214A-2C43-97A0-8D211EEECFC5}"/>
    <dgm:cxn modelId="{140EAB44-CC52-B548-9B8A-3FCFEC2F708D}" type="presOf" srcId="{9DC20293-0A6C-4743-B785-9FDBC53DF9FD}" destId="{FAA8EFDB-DE0E-FF47-8B7A-C0211EBDE2CA}" srcOrd="1" destOrd="0" presId="urn:microsoft.com/office/officeart/2005/8/layout/radial5"/>
    <dgm:cxn modelId="{F555F848-274D-FF4A-B6B4-919173ED5292}" type="presOf" srcId="{50A392B4-A16E-0B46-8C0B-3DE8D2DEB602}" destId="{36A303C7-4D4F-284E-A69C-EBFABE531924}" srcOrd="0" destOrd="0" presId="urn:microsoft.com/office/officeart/2005/8/layout/radial5"/>
    <dgm:cxn modelId="{2F759C4A-4C5A-574E-81C1-86BD0A6E8644}" srcId="{222A9AA3-3535-DA44-B559-73BC1D251944}" destId="{50A392B4-A16E-0B46-8C0B-3DE8D2DEB602}" srcOrd="3" destOrd="0" parTransId="{FD8999CF-D1E9-6B41-B05D-AAA79460ABBE}" sibTransId="{0FF80CEC-DAA6-1E48-BF3E-87D8B3FF6C7E}"/>
    <dgm:cxn modelId="{8B99594F-A309-5A40-B7E0-1AE044F388D0}" type="presOf" srcId="{37D5B6BF-81DD-014F-BB3F-E2B3EF081BC8}" destId="{CAFA0CE4-50A9-8D47-8DBC-E9997A1F8657}" srcOrd="0" destOrd="0" presId="urn:microsoft.com/office/officeart/2005/8/layout/radial5"/>
    <dgm:cxn modelId="{B8EB9863-27B0-6F4D-A216-F7F996666F62}" type="presOf" srcId="{F4F6CF67-84B3-1A42-AB36-3368E54F73AE}" destId="{F4416241-BDAB-EB43-864B-2D3EDCED68AD}" srcOrd="0" destOrd="0" presId="urn:microsoft.com/office/officeart/2005/8/layout/radial5"/>
    <dgm:cxn modelId="{A8A30D74-FB13-1A46-AF1F-830B45AA653E}" srcId="{222A9AA3-3535-DA44-B559-73BC1D251944}" destId="{31F49B21-D6FA-6E41-BEBB-7D4541E42847}" srcOrd="4" destOrd="0" parTransId="{D58BBEB6-5BA8-994E-B670-F3CC7B3D831E}" sibTransId="{6F3ABB35-07D9-194E-8637-07985B756287}"/>
    <dgm:cxn modelId="{9263AC76-0731-5F45-955E-C8331CA85F17}" srcId="{222A9AA3-3535-DA44-B559-73BC1D251944}" destId="{1B01953D-08DB-7645-9600-0410942838E4}" srcOrd="2" destOrd="0" parTransId="{37D5B6BF-81DD-014F-BB3F-E2B3EF081BC8}" sibTransId="{00F1C62B-3657-9244-BCD2-87C5A3DAD902}"/>
    <dgm:cxn modelId="{F9B2F97C-5A26-694F-ADC7-0B3804EF87F7}" type="presOf" srcId="{79361BB0-E80C-C64C-916C-F5F2CE66D2E4}" destId="{30E87F2B-170D-AF4C-BE14-CDA202FC37B0}" srcOrd="1" destOrd="0" presId="urn:microsoft.com/office/officeart/2005/8/layout/radial5"/>
    <dgm:cxn modelId="{5743438B-A91E-6548-9EDC-DF3108D52643}" type="presOf" srcId="{DB529D8D-C2E4-7245-ACF9-EA414844CDA9}" destId="{68E3241B-9F97-3A4F-88DE-72FEEC42FF38}" srcOrd="1" destOrd="0" presId="urn:microsoft.com/office/officeart/2005/8/layout/radial5"/>
    <dgm:cxn modelId="{4445218D-9FAB-3643-B39A-2BA5D7A39D3A}" srcId="{222A9AA3-3535-DA44-B559-73BC1D251944}" destId="{4B01BE7A-D537-FF40-83F4-2A295165F194}" srcOrd="7" destOrd="0" parTransId="{DB529D8D-C2E4-7245-ACF9-EA414844CDA9}" sibTransId="{859EFB5A-9ED2-CD40-90AE-DE2261FF5830}"/>
    <dgm:cxn modelId="{9925F58E-A039-904F-938F-2BAA161DDFF2}" type="presOf" srcId="{0EF46447-C7BD-8347-BD9B-99952E7185DE}" destId="{C68F4161-C3A8-BD41-86BE-337A0DD9718A}" srcOrd="0" destOrd="0" presId="urn:microsoft.com/office/officeart/2005/8/layout/radial5"/>
    <dgm:cxn modelId="{9C20FF93-F32B-494E-8459-EC798A8D453A}" type="presOf" srcId="{4B01BE7A-D537-FF40-83F4-2A295165F194}" destId="{F09F36E8-9253-5841-BE97-259167C345FA}" srcOrd="0" destOrd="0" presId="urn:microsoft.com/office/officeart/2005/8/layout/radial5"/>
    <dgm:cxn modelId="{18D99598-ECB7-104F-AAE6-C5044275A652}" type="presOf" srcId="{79361BB0-E80C-C64C-916C-F5F2CE66D2E4}" destId="{5AB65319-8B85-BC4E-A6D9-D90ECAB89474}" srcOrd="0" destOrd="0" presId="urn:microsoft.com/office/officeart/2005/8/layout/radial5"/>
    <dgm:cxn modelId="{BB5165A0-F5E7-094F-A7CF-92AE0B830B4E}" type="presOf" srcId="{B9E34721-9C8B-CD47-B1D3-7F78845CC6BE}" destId="{2CA96873-FC09-8244-9DD0-F19772BEAA14}" srcOrd="0" destOrd="0" presId="urn:microsoft.com/office/officeart/2005/8/layout/radial5"/>
    <dgm:cxn modelId="{023C61A9-0CE4-7F46-BF14-D2067B7B4DE3}" type="presOf" srcId="{CB2E7BAA-17CF-3646-B5A6-617D2CCEB991}" destId="{A5B58896-965F-EA40-AEC3-CC004B4583A3}" srcOrd="0" destOrd="0" presId="urn:microsoft.com/office/officeart/2005/8/layout/radial5"/>
    <dgm:cxn modelId="{0FC717AE-2D7D-0C4D-A158-7C34DEA5B6A0}" type="presOf" srcId="{D58BBEB6-5BA8-994E-B670-F3CC7B3D831E}" destId="{D3532236-D4C0-BD46-B98F-2C9438F4ED1B}" srcOrd="0" destOrd="0" presId="urn:microsoft.com/office/officeart/2005/8/layout/radial5"/>
    <dgm:cxn modelId="{8993F3B1-BE11-824F-9663-FBB0B74A3342}" type="presOf" srcId="{9BAEBA1A-2326-A34F-AE4D-567CAD9DECEC}" destId="{DA069C33-9EC6-474C-9B23-32C34D664D78}" srcOrd="1" destOrd="0" presId="urn:microsoft.com/office/officeart/2005/8/layout/radial5"/>
    <dgm:cxn modelId="{DA3F7FC1-73CE-3940-AC97-EBD5C0F68053}" type="presOf" srcId="{FD8999CF-D1E9-6B41-B05D-AAA79460ABBE}" destId="{4EC3BB2E-74D6-C141-851A-58B08DE36F84}" srcOrd="0" destOrd="0" presId="urn:microsoft.com/office/officeart/2005/8/layout/radial5"/>
    <dgm:cxn modelId="{161AF6D3-20CD-3846-A1D0-CF0874D89615}" type="presOf" srcId="{1B01953D-08DB-7645-9600-0410942838E4}" destId="{02C5EEE2-B376-074D-8FC1-34D5CC1DF646}" srcOrd="0" destOrd="0" presId="urn:microsoft.com/office/officeart/2005/8/layout/radial5"/>
    <dgm:cxn modelId="{6E0211DA-8869-9B4F-A2E0-FA049E7A91CB}" type="presOf" srcId="{222A9AA3-3535-DA44-B559-73BC1D251944}" destId="{2404ECCE-06DC-1848-A14F-17A1385BA5F4}" srcOrd="0" destOrd="0" presId="urn:microsoft.com/office/officeart/2005/8/layout/radial5"/>
    <dgm:cxn modelId="{732722E1-946C-0248-A664-2F4350C2F747}" type="presOf" srcId="{31F49B21-D6FA-6E41-BEBB-7D4541E42847}" destId="{36FAD62B-39F1-D14A-A76C-FBA5791D9D52}" srcOrd="0" destOrd="0" presId="urn:microsoft.com/office/officeart/2005/8/layout/radial5"/>
    <dgm:cxn modelId="{8B8A86E1-0D5C-E240-A355-2D0870B015B6}" type="presOf" srcId="{9BAEBA1A-2326-A34F-AE4D-567CAD9DECEC}" destId="{A03F7377-C63C-0B41-879E-490A0B5C8CFC}" srcOrd="0" destOrd="0" presId="urn:microsoft.com/office/officeart/2005/8/layout/radial5"/>
    <dgm:cxn modelId="{A65D0DE2-9FE3-6E49-9949-5F63DABBDEF6}" type="presOf" srcId="{DB529D8D-C2E4-7245-ACF9-EA414844CDA9}" destId="{33E33266-0876-0C43-917E-174EBF5806EE}" srcOrd="0" destOrd="0" presId="urn:microsoft.com/office/officeart/2005/8/layout/radial5"/>
    <dgm:cxn modelId="{9D903FE3-0471-314F-AE60-29B87F6C6E8C}" srcId="{222A9AA3-3535-DA44-B559-73BC1D251944}" destId="{0EF46447-C7BD-8347-BD9B-99952E7185DE}" srcOrd="6" destOrd="0" parTransId="{9BAEBA1A-2326-A34F-AE4D-567CAD9DECEC}" sibTransId="{D15A4C4D-1C2D-1247-8BBC-5984AF140DBD}"/>
    <dgm:cxn modelId="{A0FAA1E4-F099-9A4A-A82D-D8BC280582C3}" srcId="{222A9AA3-3535-DA44-B559-73BC1D251944}" destId="{D293B2DC-65F3-DF43-B343-F3FF0D61850C}" srcOrd="5" destOrd="0" parTransId="{F4F6CF67-84B3-1A42-AB36-3368E54F73AE}" sibTransId="{D830BE1D-EDD0-AA4A-ADA9-CD7DC5217A11}"/>
    <dgm:cxn modelId="{3E1A69EA-9F44-1448-ACFE-2728EEC5B269}" srcId="{F8D49BFD-2B5B-4E9D-9FD4-15FDEA4B7FA5}" destId="{222A9AA3-3535-DA44-B559-73BC1D251944}" srcOrd="0" destOrd="0" parTransId="{7288A2FF-8C8B-F144-ACB9-D81ABCDC139B}" sibTransId="{082AADF9-2324-354F-A079-3463B4EC3BCF}"/>
    <dgm:cxn modelId="{4A2CACEF-F54D-C048-9FEE-F6C4F91B6C4A}" type="presOf" srcId="{37D5B6BF-81DD-014F-BB3F-E2B3EF081BC8}" destId="{7BD0C36C-17EF-4246-AF78-2AF723D84BFA}" srcOrd="1" destOrd="0" presId="urn:microsoft.com/office/officeart/2005/8/layout/radial5"/>
    <dgm:cxn modelId="{68AC63F0-1023-9246-B5D0-F35F5194965F}" type="presOf" srcId="{D293B2DC-65F3-DF43-B343-F3FF0D61850C}" destId="{BD848E03-D2B5-5D47-A113-9990B35B36E8}" srcOrd="0" destOrd="0" presId="urn:microsoft.com/office/officeart/2005/8/layout/radial5"/>
    <dgm:cxn modelId="{50A3CDFE-0F8B-D943-A15D-9098087D61C6}" type="presOf" srcId="{D58BBEB6-5BA8-994E-B670-F3CC7B3D831E}" destId="{7A509ED9-8ACD-D049-8E2E-631FD84020BB}" srcOrd="1" destOrd="0" presId="urn:microsoft.com/office/officeart/2005/8/layout/radial5"/>
    <dgm:cxn modelId="{F90A7140-362B-004E-933E-961251DC1A89}" type="presParOf" srcId="{F156BE2C-EC99-8E40-BA9D-DDE75572F1F9}" destId="{2404ECCE-06DC-1848-A14F-17A1385BA5F4}" srcOrd="0" destOrd="0" presId="urn:microsoft.com/office/officeart/2005/8/layout/radial5"/>
    <dgm:cxn modelId="{5A2BDB3B-7898-6A47-B524-48A1CCA1356B}" type="presParOf" srcId="{F156BE2C-EC99-8E40-BA9D-DDE75572F1F9}" destId="{5AB65319-8B85-BC4E-A6D9-D90ECAB89474}" srcOrd="1" destOrd="0" presId="urn:microsoft.com/office/officeart/2005/8/layout/radial5"/>
    <dgm:cxn modelId="{FC1CD460-3AC7-3641-9337-F110C28D3530}" type="presParOf" srcId="{5AB65319-8B85-BC4E-A6D9-D90ECAB89474}" destId="{30E87F2B-170D-AF4C-BE14-CDA202FC37B0}" srcOrd="0" destOrd="0" presId="urn:microsoft.com/office/officeart/2005/8/layout/radial5"/>
    <dgm:cxn modelId="{8D0130FA-9DC9-F144-8989-3EB29A933215}" type="presParOf" srcId="{F156BE2C-EC99-8E40-BA9D-DDE75572F1F9}" destId="{A5B58896-965F-EA40-AEC3-CC004B4583A3}" srcOrd="2" destOrd="0" presId="urn:microsoft.com/office/officeart/2005/8/layout/radial5"/>
    <dgm:cxn modelId="{AE94EB4C-7C5E-694F-AD47-F7C9259485FE}" type="presParOf" srcId="{F156BE2C-EC99-8E40-BA9D-DDE75572F1F9}" destId="{A2165FF7-9BBD-9A4E-9529-AF1AE8BBBC7F}" srcOrd="3" destOrd="0" presId="urn:microsoft.com/office/officeart/2005/8/layout/radial5"/>
    <dgm:cxn modelId="{453ACFF2-AB9D-C34E-A12B-903DA20EB195}" type="presParOf" srcId="{A2165FF7-9BBD-9A4E-9529-AF1AE8BBBC7F}" destId="{FAA8EFDB-DE0E-FF47-8B7A-C0211EBDE2CA}" srcOrd="0" destOrd="0" presId="urn:microsoft.com/office/officeart/2005/8/layout/radial5"/>
    <dgm:cxn modelId="{784B71F5-C962-274C-A944-53F30E8F9075}" type="presParOf" srcId="{F156BE2C-EC99-8E40-BA9D-DDE75572F1F9}" destId="{2CA96873-FC09-8244-9DD0-F19772BEAA14}" srcOrd="4" destOrd="0" presId="urn:microsoft.com/office/officeart/2005/8/layout/radial5"/>
    <dgm:cxn modelId="{B68F0088-0EDB-824A-B4C2-4F448402314E}" type="presParOf" srcId="{F156BE2C-EC99-8E40-BA9D-DDE75572F1F9}" destId="{CAFA0CE4-50A9-8D47-8DBC-E9997A1F8657}" srcOrd="5" destOrd="0" presId="urn:microsoft.com/office/officeart/2005/8/layout/radial5"/>
    <dgm:cxn modelId="{83444134-AC13-AF4F-9453-607A6EB28DFB}" type="presParOf" srcId="{CAFA0CE4-50A9-8D47-8DBC-E9997A1F8657}" destId="{7BD0C36C-17EF-4246-AF78-2AF723D84BFA}" srcOrd="0" destOrd="0" presId="urn:microsoft.com/office/officeart/2005/8/layout/radial5"/>
    <dgm:cxn modelId="{4AA4D8DA-EB52-C64A-B0AC-E2597B7F3D93}" type="presParOf" srcId="{F156BE2C-EC99-8E40-BA9D-DDE75572F1F9}" destId="{02C5EEE2-B376-074D-8FC1-34D5CC1DF646}" srcOrd="6" destOrd="0" presId="urn:microsoft.com/office/officeart/2005/8/layout/radial5"/>
    <dgm:cxn modelId="{18274B1D-7636-8E4E-8A49-192A4C70A44D}" type="presParOf" srcId="{F156BE2C-EC99-8E40-BA9D-DDE75572F1F9}" destId="{4EC3BB2E-74D6-C141-851A-58B08DE36F84}" srcOrd="7" destOrd="0" presId="urn:microsoft.com/office/officeart/2005/8/layout/radial5"/>
    <dgm:cxn modelId="{6DA21F7E-5155-2D42-A51C-C51A71E7A8DC}" type="presParOf" srcId="{4EC3BB2E-74D6-C141-851A-58B08DE36F84}" destId="{EE5402DF-93CA-6049-AA26-44C4FB60AE41}" srcOrd="0" destOrd="0" presId="urn:microsoft.com/office/officeart/2005/8/layout/radial5"/>
    <dgm:cxn modelId="{046EBFD1-A0C6-E145-9AA5-59F1D7A2E696}" type="presParOf" srcId="{F156BE2C-EC99-8E40-BA9D-DDE75572F1F9}" destId="{36A303C7-4D4F-284E-A69C-EBFABE531924}" srcOrd="8" destOrd="0" presId="urn:microsoft.com/office/officeart/2005/8/layout/radial5"/>
    <dgm:cxn modelId="{64122E12-DEFC-E44C-B9A2-5B1BBF14B847}" type="presParOf" srcId="{F156BE2C-EC99-8E40-BA9D-DDE75572F1F9}" destId="{D3532236-D4C0-BD46-B98F-2C9438F4ED1B}" srcOrd="9" destOrd="0" presId="urn:microsoft.com/office/officeart/2005/8/layout/radial5"/>
    <dgm:cxn modelId="{96DA9A57-A0F9-3B4E-9527-C416599851F4}" type="presParOf" srcId="{D3532236-D4C0-BD46-B98F-2C9438F4ED1B}" destId="{7A509ED9-8ACD-D049-8E2E-631FD84020BB}" srcOrd="0" destOrd="0" presId="urn:microsoft.com/office/officeart/2005/8/layout/radial5"/>
    <dgm:cxn modelId="{E088232D-B936-3B43-AAAD-9DFF7ECC3C48}" type="presParOf" srcId="{F156BE2C-EC99-8E40-BA9D-DDE75572F1F9}" destId="{36FAD62B-39F1-D14A-A76C-FBA5791D9D52}" srcOrd="10" destOrd="0" presId="urn:microsoft.com/office/officeart/2005/8/layout/radial5"/>
    <dgm:cxn modelId="{517C981A-7CC3-A34F-8453-F43B51893769}" type="presParOf" srcId="{F156BE2C-EC99-8E40-BA9D-DDE75572F1F9}" destId="{F4416241-BDAB-EB43-864B-2D3EDCED68AD}" srcOrd="11" destOrd="0" presId="urn:microsoft.com/office/officeart/2005/8/layout/radial5"/>
    <dgm:cxn modelId="{5D8755E7-27C1-B248-A28F-9FCE39E08E1D}" type="presParOf" srcId="{F4416241-BDAB-EB43-864B-2D3EDCED68AD}" destId="{95C4972F-975F-364E-9AA1-A4C20B21C8CE}" srcOrd="0" destOrd="0" presId="urn:microsoft.com/office/officeart/2005/8/layout/radial5"/>
    <dgm:cxn modelId="{954F808E-B7B7-A949-8550-C2D7430EB6D8}" type="presParOf" srcId="{F156BE2C-EC99-8E40-BA9D-DDE75572F1F9}" destId="{BD848E03-D2B5-5D47-A113-9990B35B36E8}" srcOrd="12" destOrd="0" presId="urn:microsoft.com/office/officeart/2005/8/layout/radial5"/>
    <dgm:cxn modelId="{02F89950-3953-AE42-8D8C-6D6CD693652E}" type="presParOf" srcId="{F156BE2C-EC99-8E40-BA9D-DDE75572F1F9}" destId="{A03F7377-C63C-0B41-879E-490A0B5C8CFC}" srcOrd="13" destOrd="0" presId="urn:microsoft.com/office/officeart/2005/8/layout/radial5"/>
    <dgm:cxn modelId="{5A184508-6F4D-8D41-9E28-F6EFC9D2D518}" type="presParOf" srcId="{A03F7377-C63C-0B41-879E-490A0B5C8CFC}" destId="{DA069C33-9EC6-474C-9B23-32C34D664D78}" srcOrd="0" destOrd="0" presId="urn:microsoft.com/office/officeart/2005/8/layout/radial5"/>
    <dgm:cxn modelId="{24AB363B-BFDB-0D4D-AF23-DA64F3B25D7C}" type="presParOf" srcId="{F156BE2C-EC99-8E40-BA9D-DDE75572F1F9}" destId="{C68F4161-C3A8-BD41-86BE-337A0DD9718A}" srcOrd="14" destOrd="0" presId="urn:microsoft.com/office/officeart/2005/8/layout/radial5"/>
    <dgm:cxn modelId="{635DFC39-EF3A-8C47-88A5-E92D8BCE12E6}" type="presParOf" srcId="{F156BE2C-EC99-8E40-BA9D-DDE75572F1F9}" destId="{33E33266-0876-0C43-917E-174EBF5806EE}" srcOrd="15" destOrd="0" presId="urn:microsoft.com/office/officeart/2005/8/layout/radial5"/>
    <dgm:cxn modelId="{94D88479-1228-314A-A1AA-5531F11F6A21}" type="presParOf" srcId="{33E33266-0876-0C43-917E-174EBF5806EE}" destId="{68E3241B-9F97-3A4F-88DE-72FEEC42FF38}" srcOrd="0" destOrd="0" presId="urn:microsoft.com/office/officeart/2005/8/layout/radial5"/>
    <dgm:cxn modelId="{2DEC2224-AA02-E447-BE9A-240E75015A98}" type="presParOf" srcId="{F156BE2C-EC99-8E40-BA9D-DDE75572F1F9}" destId="{F09F36E8-9253-5841-BE97-259167C345FA}" srcOrd="16" destOrd="0" presId="urn:microsoft.com/office/officeart/2005/8/layout/radial5"/>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2261E4-0D26-4921-B3B6-1A1333539AF4}" type="doc">
      <dgm:prSet loTypeId="urn:microsoft.com/office/officeart/2018/2/layout/IconVerticalSolidList" loCatId="icon" qsTypeId="urn:microsoft.com/office/officeart/2005/8/quickstyle/simple1" qsCatId="simple" csTypeId="urn:microsoft.com/office/officeart/2005/8/colors/accent3_2" csCatId="accent3" phldr="1"/>
      <dgm:spPr/>
      <dgm:t>
        <a:bodyPr/>
        <a:lstStyle/>
        <a:p>
          <a:endParaRPr lang="en-US"/>
        </a:p>
      </dgm:t>
    </dgm:pt>
    <dgm:pt modelId="{292B6060-8B71-4C48-9078-5EC2CAAE19A7}">
      <dgm:prSet/>
      <dgm:spPr/>
      <dgm:t>
        <a:bodyPr/>
        <a:lstStyle/>
        <a:p>
          <a:pPr>
            <a:lnSpc>
              <a:spcPct val="100000"/>
            </a:lnSpc>
          </a:pPr>
          <a:r>
            <a:rPr lang="en-US" dirty="0"/>
            <a:t>Explain</a:t>
          </a:r>
        </a:p>
      </dgm:t>
    </dgm:pt>
    <dgm:pt modelId="{0CB50765-F6BC-4F92-8DA1-94783B22594F}" type="parTrans" cxnId="{5229F4DA-F1B7-46AE-A00C-9B22171618F7}">
      <dgm:prSet/>
      <dgm:spPr/>
      <dgm:t>
        <a:bodyPr/>
        <a:lstStyle/>
        <a:p>
          <a:endParaRPr lang="en-US"/>
        </a:p>
      </dgm:t>
    </dgm:pt>
    <dgm:pt modelId="{66A5BC90-0D88-4DBB-8532-6293C74B77E1}" type="sibTrans" cxnId="{5229F4DA-F1B7-46AE-A00C-9B22171618F7}">
      <dgm:prSet/>
      <dgm:spPr/>
      <dgm:t>
        <a:bodyPr/>
        <a:lstStyle/>
        <a:p>
          <a:endParaRPr lang="en-US"/>
        </a:p>
      </dgm:t>
    </dgm:pt>
    <dgm:pt modelId="{490B850B-0D90-46BC-93A2-23C56EA8E25A}">
      <dgm:prSet/>
      <dgm:spPr/>
      <dgm:t>
        <a:bodyPr/>
        <a:lstStyle/>
        <a:p>
          <a:pPr>
            <a:lnSpc>
              <a:spcPct val="100000"/>
            </a:lnSpc>
          </a:pPr>
          <a:r>
            <a:rPr lang="en-US" dirty="0"/>
            <a:t>Why and how EPDs are being used to measure and track carbon in public projects, green building programs, carbon calculators and design software. </a:t>
          </a:r>
        </a:p>
      </dgm:t>
    </dgm:pt>
    <dgm:pt modelId="{6DE6CBF3-3E0B-40A8-8318-94E3D24A8C49}" type="parTrans" cxnId="{C6791019-6864-449A-B2E0-0A8F3716A523}">
      <dgm:prSet/>
      <dgm:spPr/>
      <dgm:t>
        <a:bodyPr/>
        <a:lstStyle/>
        <a:p>
          <a:endParaRPr lang="en-US"/>
        </a:p>
      </dgm:t>
    </dgm:pt>
    <dgm:pt modelId="{13E0167A-139B-41BE-B536-B2338C4C845C}" type="sibTrans" cxnId="{C6791019-6864-449A-B2E0-0A8F3716A523}">
      <dgm:prSet/>
      <dgm:spPr/>
      <dgm:t>
        <a:bodyPr/>
        <a:lstStyle/>
        <a:p>
          <a:endParaRPr lang="en-US"/>
        </a:p>
      </dgm:t>
    </dgm:pt>
    <dgm:pt modelId="{1C2BD239-649D-4EEF-8E4F-1BD66684A603}">
      <dgm:prSet/>
      <dgm:spPr/>
      <dgm:t>
        <a:bodyPr/>
        <a:lstStyle/>
        <a:p>
          <a:pPr>
            <a:lnSpc>
              <a:spcPct val="100000"/>
            </a:lnSpc>
          </a:pPr>
          <a:r>
            <a:rPr lang="en-US" dirty="0"/>
            <a:t>Describe </a:t>
          </a:r>
        </a:p>
      </dgm:t>
    </dgm:pt>
    <dgm:pt modelId="{ACAED61F-894B-40D6-9048-C0A80CBA6FE8}" type="parTrans" cxnId="{032A7CA9-CEA7-4266-98D0-DD68AE7F745B}">
      <dgm:prSet/>
      <dgm:spPr/>
      <dgm:t>
        <a:bodyPr/>
        <a:lstStyle/>
        <a:p>
          <a:endParaRPr lang="en-US"/>
        </a:p>
      </dgm:t>
    </dgm:pt>
    <dgm:pt modelId="{D0D8C89D-1208-4468-BC69-DBF5A2DEA1AB}" type="sibTrans" cxnId="{032A7CA9-CEA7-4266-98D0-DD68AE7F745B}">
      <dgm:prSet/>
      <dgm:spPr/>
      <dgm:t>
        <a:bodyPr/>
        <a:lstStyle/>
        <a:p>
          <a:endParaRPr lang="en-US"/>
        </a:p>
      </dgm:t>
    </dgm:pt>
    <dgm:pt modelId="{5ED3AB64-68DF-484B-B32C-C25479E4B2E3}">
      <dgm:prSet/>
      <dgm:spPr/>
      <dgm:t>
        <a:bodyPr/>
        <a:lstStyle/>
        <a:p>
          <a:pPr>
            <a:lnSpc>
              <a:spcPct val="100000"/>
            </a:lnSpc>
          </a:pPr>
          <a:r>
            <a:rPr lang="en-US" dirty="0"/>
            <a:t>Use</a:t>
          </a:r>
        </a:p>
      </dgm:t>
    </dgm:pt>
    <dgm:pt modelId="{082C0A17-29B0-46EB-95F9-8A0988FE8EF2}" type="parTrans" cxnId="{A8F147DA-B19D-4C4C-B90D-4CFCF5C25F98}">
      <dgm:prSet/>
      <dgm:spPr/>
      <dgm:t>
        <a:bodyPr/>
        <a:lstStyle/>
        <a:p>
          <a:endParaRPr lang="en-US"/>
        </a:p>
      </dgm:t>
    </dgm:pt>
    <dgm:pt modelId="{CEC34310-5FB0-4498-9296-BA14D4EE16A3}" type="sibTrans" cxnId="{A8F147DA-B19D-4C4C-B90D-4CFCF5C25F98}">
      <dgm:prSet/>
      <dgm:spPr/>
      <dgm:t>
        <a:bodyPr/>
        <a:lstStyle/>
        <a:p>
          <a:endParaRPr lang="en-US"/>
        </a:p>
      </dgm:t>
    </dgm:pt>
    <dgm:pt modelId="{197DB053-44B1-7445-B24B-AFF9EA44CDB1}">
      <dgm:prSet/>
      <dgm:spPr/>
      <dgm:t>
        <a:bodyPr/>
        <a:lstStyle/>
        <a:p>
          <a:pPr>
            <a:lnSpc>
              <a:spcPct val="100000"/>
            </a:lnSpc>
          </a:pPr>
          <a:r>
            <a:rPr lang="en-US" dirty="0"/>
            <a:t>The function of both Environmental Product Declarations (EPDs) and Lifecycle Analysis (LCA) in sustainable design. </a:t>
          </a:r>
        </a:p>
      </dgm:t>
    </dgm:pt>
    <dgm:pt modelId="{F265AF1E-D58E-B047-8449-D7BA3C1CCC17}" type="parTrans" cxnId="{723CEAF3-AE51-4848-93B9-FA4B77E8F3C1}">
      <dgm:prSet/>
      <dgm:spPr/>
      <dgm:t>
        <a:bodyPr/>
        <a:lstStyle/>
        <a:p>
          <a:endParaRPr lang="en-US"/>
        </a:p>
      </dgm:t>
    </dgm:pt>
    <dgm:pt modelId="{A140FE1F-F843-FE45-B5E2-26B6A352AC95}" type="sibTrans" cxnId="{723CEAF3-AE51-4848-93B9-FA4B77E8F3C1}">
      <dgm:prSet/>
      <dgm:spPr/>
      <dgm:t>
        <a:bodyPr/>
        <a:lstStyle/>
        <a:p>
          <a:endParaRPr lang="en-US"/>
        </a:p>
      </dgm:t>
    </dgm:pt>
    <dgm:pt modelId="{B6DB5134-2A7A-D240-8D51-9565A1BA7D7B}">
      <dgm:prSet/>
      <dgm:spPr/>
      <dgm:t>
        <a:bodyPr/>
        <a:lstStyle/>
        <a:p>
          <a:pPr>
            <a:lnSpc>
              <a:spcPct val="100000"/>
            </a:lnSpc>
          </a:pPr>
          <a:r>
            <a:rPr lang="en-US" dirty="0"/>
            <a:t>EPDs to determine the environmental benefits of the GPS-insulated vinyl siding system. </a:t>
          </a:r>
        </a:p>
      </dgm:t>
    </dgm:pt>
    <dgm:pt modelId="{14C7B4C1-2E50-394A-B4CE-702E4100E01B}" type="parTrans" cxnId="{3E6FC56B-352B-3243-9819-169210269172}">
      <dgm:prSet/>
      <dgm:spPr/>
      <dgm:t>
        <a:bodyPr/>
        <a:lstStyle/>
        <a:p>
          <a:endParaRPr lang="en-US"/>
        </a:p>
      </dgm:t>
    </dgm:pt>
    <dgm:pt modelId="{89C4ACA6-9730-EB45-98B7-C322E858E577}" type="sibTrans" cxnId="{3E6FC56B-352B-3243-9819-169210269172}">
      <dgm:prSet/>
      <dgm:spPr/>
      <dgm:t>
        <a:bodyPr/>
        <a:lstStyle/>
        <a:p>
          <a:endParaRPr lang="en-US"/>
        </a:p>
      </dgm:t>
    </dgm:pt>
    <dgm:pt modelId="{71BAADDB-6FCB-4EAB-9AA1-A82CF4FA771D}" type="pres">
      <dgm:prSet presAssocID="{022261E4-0D26-4921-B3B6-1A1333539AF4}" presName="root" presStyleCnt="0">
        <dgm:presLayoutVars>
          <dgm:dir/>
          <dgm:resizeHandles val="exact"/>
        </dgm:presLayoutVars>
      </dgm:prSet>
      <dgm:spPr/>
    </dgm:pt>
    <dgm:pt modelId="{C4BF2AAE-2432-4092-AA40-0785CAFDF432}" type="pres">
      <dgm:prSet presAssocID="{1C2BD239-649D-4EEF-8E4F-1BD66684A603}" presName="compNode" presStyleCnt="0"/>
      <dgm:spPr/>
    </dgm:pt>
    <dgm:pt modelId="{A9A110BC-0963-47BA-A2B4-BBDA648AF15A}" type="pres">
      <dgm:prSet presAssocID="{1C2BD239-649D-4EEF-8E4F-1BD66684A603}" presName="bgRect" presStyleLbl="bgShp" presStyleIdx="0" presStyleCnt="3" custLinFactNeighborX="771" custLinFactNeighborY="4648"/>
      <dgm:spPr/>
    </dgm:pt>
    <dgm:pt modelId="{654699D7-2177-452A-86C3-1B82FD3B2330}" type="pres">
      <dgm:prSet presAssocID="{1C2BD239-649D-4EEF-8E4F-1BD66684A603}"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Head with gears outline"/>
        </a:ext>
      </dgm:extLst>
    </dgm:pt>
    <dgm:pt modelId="{0F71F0CC-F12D-4940-97DB-F6404D5D51ED}" type="pres">
      <dgm:prSet presAssocID="{1C2BD239-649D-4EEF-8E4F-1BD66684A603}" presName="spaceRect" presStyleCnt="0"/>
      <dgm:spPr/>
    </dgm:pt>
    <dgm:pt modelId="{4AB826BB-221C-4E31-AFC1-E1FF6541DB9E}" type="pres">
      <dgm:prSet presAssocID="{1C2BD239-649D-4EEF-8E4F-1BD66684A603}" presName="parTx" presStyleLbl="revTx" presStyleIdx="0" presStyleCnt="6" custScaleX="38838" custLinFactNeighborX="-32215" custLinFactNeighborY="-58">
        <dgm:presLayoutVars>
          <dgm:chMax val="0"/>
          <dgm:chPref val="0"/>
        </dgm:presLayoutVars>
      </dgm:prSet>
      <dgm:spPr/>
    </dgm:pt>
    <dgm:pt modelId="{F274FA25-5BF4-48C7-A437-86CC735CC016}" type="pres">
      <dgm:prSet presAssocID="{1C2BD239-649D-4EEF-8E4F-1BD66684A603}" presName="desTx" presStyleLbl="revTx" presStyleIdx="1" presStyleCnt="6" custScaleX="100000">
        <dgm:presLayoutVars/>
      </dgm:prSet>
      <dgm:spPr/>
    </dgm:pt>
    <dgm:pt modelId="{37FAB403-F29E-4FCB-BB0B-D4CA558C326B}" type="pres">
      <dgm:prSet presAssocID="{D0D8C89D-1208-4468-BC69-DBF5A2DEA1AB}" presName="sibTrans" presStyleCnt="0"/>
      <dgm:spPr/>
    </dgm:pt>
    <dgm:pt modelId="{E420A595-D703-426C-BC6D-450035B12364}" type="pres">
      <dgm:prSet presAssocID="{292B6060-8B71-4C48-9078-5EC2CAAE19A7}" presName="compNode" presStyleCnt="0"/>
      <dgm:spPr/>
    </dgm:pt>
    <dgm:pt modelId="{61505755-89D1-443C-9678-B588B771B42F}" type="pres">
      <dgm:prSet presAssocID="{292B6060-8B71-4C48-9078-5EC2CAAE19A7}" presName="bgRect" presStyleLbl="bgShp" presStyleIdx="1" presStyleCnt="3"/>
      <dgm:spPr/>
    </dgm:pt>
    <dgm:pt modelId="{68B8D188-E1B9-4A48-A88B-3E883A268F35}" type="pres">
      <dgm:prSet presAssocID="{292B6060-8B71-4C48-9078-5EC2CAAE19A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Teacher with solid fill"/>
        </a:ext>
      </dgm:extLst>
    </dgm:pt>
    <dgm:pt modelId="{62E8D99F-4733-4B23-AF08-8A91A151FF50}" type="pres">
      <dgm:prSet presAssocID="{292B6060-8B71-4C48-9078-5EC2CAAE19A7}" presName="spaceRect" presStyleCnt="0"/>
      <dgm:spPr/>
    </dgm:pt>
    <dgm:pt modelId="{F1AC683C-A590-49D0-9753-20729AC8126E}" type="pres">
      <dgm:prSet presAssocID="{292B6060-8B71-4C48-9078-5EC2CAAE19A7}" presName="parTx" presStyleLbl="revTx" presStyleIdx="2" presStyleCnt="6">
        <dgm:presLayoutVars>
          <dgm:chMax val="0"/>
          <dgm:chPref val="0"/>
        </dgm:presLayoutVars>
      </dgm:prSet>
      <dgm:spPr/>
    </dgm:pt>
    <dgm:pt modelId="{02BC3CB3-CAC3-4B9C-B704-13563AAA91B6}" type="pres">
      <dgm:prSet presAssocID="{292B6060-8B71-4C48-9078-5EC2CAAE19A7}" presName="desTx" presStyleLbl="revTx" presStyleIdx="3" presStyleCnt="6">
        <dgm:presLayoutVars/>
      </dgm:prSet>
      <dgm:spPr/>
    </dgm:pt>
    <dgm:pt modelId="{582E54B2-E63C-4CE4-9411-601B11D11856}" type="pres">
      <dgm:prSet presAssocID="{66A5BC90-0D88-4DBB-8532-6293C74B77E1}" presName="sibTrans" presStyleCnt="0"/>
      <dgm:spPr/>
    </dgm:pt>
    <dgm:pt modelId="{176FE054-C86F-954D-A6E2-8BB8E13D340C}" type="pres">
      <dgm:prSet presAssocID="{5ED3AB64-68DF-484B-B32C-C25479E4B2E3}" presName="compNode" presStyleCnt="0"/>
      <dgm:spPr/>
    </dgm:pt>
    <dgm:pt modelId="{8EFE74B3-84A4-D046-8F3A-12CD06D7027B}" type="pres">
      <dgm:prSet presAssocID="{5ED3AB64-68DF-484B-B32C-C25479E4B2E3}" presName="bgRect" presStyleLbl="bgShp" presStyleIdx="2" presStyleCnt="3" custLinFactNeighborX="-1273" custLinFactNeighborY="-7538"/>
      <dgm:spPr/>
    </dgm:pt>
    <dgm:pt modelId="{CF84B3D9-C862-5944-A0F2-FD2C786C3912}" type="pres">
      <dgm:prSet presAssocID="{5ED3AB64-68DF-484B-B32C-C25479E4B2E3}"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Eye with solid fill"/>
        </a:ext>
      </dgm:extLst>
    </dgm:pt>
    <dgm:pt modelId="{88B3E1EB-FD04-9544-A5DE-FC71164FFD43}" type="pres">
      <dgm:prSet presAssocID="{5ED3AB64-68DF-484B-B32C-C25479E4B2E3}" presName="spaceRect" presStyleCnt="0"/>
      <dgm:spPr/>
    </dgm:pt>
    <dgm:pt modelId="{8EC0F76C-0098-F047-A6AF-4E16FC91D5AB}" type="pres">
      <dgm:prSet presAssocID="{5ED3AB64-68DF-484B-B32C-C25479E4B2E3}" presName="parTx" presStyleLbl="revTx" presStyleIdx="4" presStyleCnt="6">
        <dgm:presLayoutVars>
          <dgm:chMax val="0"/>
          <dgm:chPref val="0"/>
        </dgm:presLayoutVars>
      </dgm:prSet>
      <dgm:spPr/>
    </dgm:pt>
    <dgm:pt modelId="{C12C1FFF-A625-2841-A77B-342A3CEE94CC}" type="pres">
      <dgm:prSet presAssocID="{5ED3AB64-68DF-484B-B32C-C25479E4B2E3}" presName="desTx" presStyleLbl="revTx" presStyleIdx="5" presStyleCnt="6">
        <dgm:presLayoutVars/>
      </dgm:prSet>
      <dgm:spPr/>
    </dgm:pt>
  </dgm:ptLst>
  <dgm:cxnLst>
    <dgm:cxn modelId="{C6791019-6864-449A-B2E0-0A8F3716A523}" srcId="{292B6060-8B71-4C48-9078-5EC2CAAE19A7}" destId="{490B850B-0D90-46BC-93A2-23C56EA8E25A}" srcOrd="0" destOrd="0" parTransId="{6DE6CBF3-3E0B-40A8-8318-94E3D24A8C49}" sibTransId="{13E0167A-139B-41BE-B536-B2338C4C845C}"/>
    <dgm:cxn modelId="{3190F31D-E17C-D144-BC23-8055386E07F2}" type="presOf" srcId="{292B6060-8B71-4C48-9078-5EC2CAAE19A7}" destId="{F1AC683C-A590-49D0-9753-20729AC8126E}" srcOrd="0" destOrd="0" presId="urn:microsoft.com/office/officeart/2018/2/layout/IconVerticalSolidList"/>
    <dgm:cxn modelId="{ACA72F47-C774-854F-9FB4-6FBC7A2C1D8E}" type="presOf" srcId="{B6DB5134-2A7A-D240-8D51-9565A1BA7D7B}" destId="{C12C1FFF-A625-2841-A77B-342A3CEE94CC}" srcOrd="0" destOrd="0" presId="urn:microsoft.com/office/officeart/2018/2/layout/IconVerticalSolidList"/>
    <dgm:cxn modelId="{1E140055-C3A4-D04C-A7AE-BD5A99697C64}" type="presOf" srcId="{490B850B-0D90-46BC-93A2-23C56EA8E25A}" destId="{02BC3CB3-CAC3-4B9C-B704-13563AAA91B6}" srcOrd="0" destOrd="0" presId="urn:microsoft.com/office/officeart/2018/2/layout/IconVerticalSolidList"/>
    <dgm:cxn modelId="{3E6FC56B-352B-3243-9819-169210269172}" srcId="{5ED3AB64-68DF-484B-B32C-C25479E4B2E3}" destId="{B6DB5134-2A7A-D240-8D51-9565A1BA7D7B}" srcOrd="0" destOrd="0" parTransId="{14C7B4C1-2E50-394A-B4CE-702E4100E01B}" sibTransId="{89C4ACA6-9730-EB45-98B7-C322E858E577}"/>
    <dgm:cxn modelId="{032A7CA9-CEA7-4266-98D0-DD68AE7F745B}" srcId="{022261E4-0D26-4921-B3B6-1A1333539AF4}" destId="{1C2BD239-649D-4EEF-8E4F-1BD66684A603}" srcOrd="0" destOrd="0" parTransId="{ACAED61F-894B-40D6-9048-C0A80CBA6FE8}" sibTransId="{D0D8C89D-1208-4468-BC69-DBF5A2DEA1AB}"/>
    <dgm:cxn modelId="{AABF95B4-7157-AC40-9F8D-E576CD014E96}" type="presOf" srcId="{5ED3AB64-68DF-484B-B32C-C25479E4B2E3}" destId="{8EC0F76C-0098-F047-A6AF-4E16FC91D5AB}" srcOrd="0" destOrd="0" presId="urn:microsoft.com/office/officeart/2018/2/layout/IconVerticalSolidList"/>
    <dgm:cxn modelId="{F7C5A6BC-BD58-B249-A781-223E75B754C1}" type="presOf" srcId="{022261E4-0D26-4921-B3B6-1A1333539AF4}" destId="{71BAADDB-6FCB-4EAB-9AA1-A82CF4FA771D}" srcOrd="0" destOrd="0" presId="urn:microsoft.com/office/officeart/2018/2/layout/IconVerticalSolidList"/>
    <dgm:cxn modelId="{AC7DE2D3-52A2-EC40-97B5-978CF1A05F00}" type="presOf" srcId="{197DB053-44B1-7445-B24B-AFF9EA44CDB1}" destId="{F274FA25-5BF4-48C7-A437-86CC735CC016}" srcOrd="0" destOrd="0" presId="urn:microsoft.com/office/officeart/2018/2/layout/IconVerticalSolidList"/>
    <dgm:cxn modelId="{A8F147DA-B19D-4C4C-B90D-4CFCF5C25F98}" srcId="{022261E4-0D26-4921-B3B6-1A1333539AF4}" destId="{5ED3AB64-68DF-484B-B32C-C25479E4B2E3}" srcOrd="2" destOrd="0" parTransId="{082C0A17-29B0-46EB-95F9-8A0988FE8EF2}" sibTransId="{CEC34310-5FB0-4498-9296-BA14D4EE16A3}"/>
    <dgm:cxn modelId="{5229F4DA-F1B7-46AE-A00C-9B22171618F7}" srcId="{022261E4-0D26-4921-B3B6-1A1333539AF4}" destId="{292B6060-8B71-4C48-9078-5EC2CAAE19A7}" srcOrd="1" destOrd="0" parTransId="{0CB50765-F6BC-4F92-8DA1-94783B22594F}" sibTransId="{66A5BC90-0D88-4DBB-8532-6293C74B77E1}"/>
    <dgm:cxn modelId="{723CEAF3-AE51-4848-93B9-FA4B77E8F3C1}" srcId="{1C2BD239-649D-4EEF-8E4F-1BD66684A603}" destId="{197DB053-44B1-7445-B24B-AFF9EA44CDB1}" srcOrd="0" destOrd="0" parTransId="{F265AF1E-D58E-B047-8449-D7BA3C1CCC17}" sibTransId="{A140FE1F-F843-FE45-B5E2-26B6A352AC95}"/>
    <dgm:cxn modelId="{E4370BFF-FAFB-7949-B0F7-195AB2C552D1}" type="presOf" srcId="{1C2BD239-649D-4EEF-8E4F-1BD66684A603}" destId="{4AB826BB-221C-4E31-AFC1-E1FF6541DB9E}" srcOrd="0" destOrd="0" presId="urn:microsoft.com/office/officeart/2018/2/layout/IconVerticalSolidList"/>
    <dgm:cxn modelId="{EC8586EA-300B-E643-9E08-4CD42BE6B8D1}" type="presParOf" srcId="{71BAADDB-6FCB-4EAB-9AA1-A82CF4FA771D}" destId="{C4BF2AAE-2432-4092-AA40-0785CAFDF432}" srcOrd="0" destOrd="0" presId="urn:microsoft.com/office/officeart/2018/2/layout/IconVerticalSolidList"/>
    <dgm:cxn modelId="{8682151B-E255-C543-8F1E-F63E3D03C70D}" type="presParOf" srcId="{C4BF2AAE-2432-4092-AA40-0785CAFDF432}" destId="{A9A110BC-0963-47BA-A2B4-BBDA648AF15A}" srcOrd="0" destOrd="0" presId="urn:microsoft.com/office/officeart/2018/2/layout/IconVerticalSolidList"/>
    <dgm:cxn modelId="{E575D97F-0463-9D4E-8A78-70CC8A28B078}" type="presParOf" srcId="{C4BF2AAE-2432-4092-AA40-0785CAFDF432}" destId="{654699D7-2177-452A-86C3-1B82FD3B2330}" srcOrd="1" destOrd="0" presId="urn:microsoft.com/office/officeart/2018/2/layout/IconVerticalSolidList"/>
    <dgm:cxn modelId="{CD6B4F77-99F9-B241-94B4-4FFF78386B60}" type="presParOf" srcId="{C4BF2AAE-2432-4092-AA40-0785CAFDF432}" destId="{0F71F0CC-F12D-4940-97DB-F6404D5D51ED}" srcOrd="2" destOrd="0" presId="urn:microsoft.com/office/officeart/2018/2/layout/IconVerticalSolidList"/>
    <dgm:cxn modelId="{7BB47BEF-EF0F-1B4A-9988-51134477E792}" type="presParOf" srcId="{C4BF2AAE-2432-4092-AA40-0785CAFDF432}" destId="{4AB826BB-221C-4E31-AFC1-E1FF6541DB9E}" srcOrd="3" destOrd="0" presId="urn:microsoft.com/office/officeart/2018/2/layout/IconVerticalSolidList"/>
    <dgm:cxn modelId="{6D9FC16B-DDD0-AC4C-9EDF-66043D154BC2}" type="presParOf" srcId="{C4BF2AAE-2432-4092-AA40-0785CAFDF432}" destId="{F274FA25-5BF4-48C7-A437-86CC735CC016}" srcOrd="4" destOrd="0" presId="urn:microsoft.com/office/officeart/2018/2/layout/IconVerticalSolidList"/>
    <dgm:cxn modelId="{175A69AE-A1C5-264C-96AE-EC1861056CAF}" type="presParOf" srcId="{71BAADDB-6FCB-4EAB-9AA1-A82CF4FA771D}" destId="{37FAB403-F29E-4FCB-BB0B-D4CA558C326B}" srcOrd="1" destOrd="0" presId="urn:microsoft.com/office/officeart/2018/2/layout/IconVerticalSolidList"/>
    <dgm:cxn modelId="{88D968E1-D490-3848-A660-B0115BE4424C}" type="presParOf" srcId="{71BAADDB-6FCB-4EAB-9AA1-A82CF4FA771D}" destId="{E420A595-D703-426C-BC6D-450035B12364}" srcOrd="2" destOrd="0" presId="urn:microsoft.com/office/officeart/2018/2/layout/IconVerticalSolidList"/>
    <dgm:cxn modelId="{621A8076-7093-AC4C-ACDC-2CAC63658E8B}" type="presParOf" srcId="{E420A595-D703-426C-BC6D-450035B12364}" destId="{61505755-89D1-443C-9678-B588B771B42F}" srcOrd="0" destOrd="0" presId="urn:microsoft.com/office/officeart/2018/2/layout/IconVerticalSolidList"/>
    <dgm:cxn modelId="{50A3EE28-530E-A84A-8588-CAE7E23314F6}" type="presParOf" srcId="{E420A595-D703-426C-BC6D-450035B12364}" destId="{68B8D188-E1B9-4A48-A88B-3E883A268F35}" srcOrd="1" destOrd="0" presId="urn:microsoft.com/office/officeart/2018/2/layout/IconVerticalSolidList"/>
    <dgm:cxn modelId="{2D55CF8F-ED78-FE4B-98DB-9631DEED19A7}" type="presParOf" srcId="{E420A595-D703-426C-BC6D-450035B12364}" destId="{62E8D99F-4733-4B23-AF08-8A91A151FF50}" srcOrd="2" destOrd="0" presId="urn:microsoft.com/office/officeart/2018/2/layout/IconVerticalSolidList"/>
    <dgm:cxn modelId="{52174B6A-D040-854D-A69E-9914C853ADEC}" type="presParOf" srcId="{E420A595-D703-426C-BC6D-450035B12364}" destId="{F1AC683C-A590-49D0-9753-20729AC8126E}" srcOrd="3" destOrd="0" presId="urn:microsoft.com/office/officeart/2018/2/layout/IconVerticalSolidList"/>
    <dgm:cxn modelId="{5BD4E013-3A79-7C4F-8FB7-7FAD87AC1D3E}" type="presParOf" srcId="{E420A595-D703-426C-BC6D-450035B12364}" destId="{02BC3CB3-CAC3-4B9C-B704-13563AAA91B6}" srcOrd="4" destOrd="0" presId="urn:microsoft.com/office/officeart/2018/2/layout/IconVerticalSolidList"/>
    <dgm:cxn modelId="{93140A14-FA8C-0843-8AAB-D35E835DA492}" type="presParOf" srcId="{71BAADDB-6FCB-4EAB-9AA1-A82CF4FA771D}" destId="{582E54B2-E63C-4CE4-9411-601B11D11856}" srcOrd="3" destOrd="0" presId="urn:microsoft.com/office/officeart/2018/2/layout/IconVerticalSolidList"/>
    <dgm:cxn modelId="{C7A1085C-18B2-A74C-9AA1-325798088060}" type="presParOf" srcId="{71BAADDB-6FCB-4EAB-9AA1-A82CF4FA771D}" destId="{176FE054-C86F-954D-A6E2-8BB8E13D340C}" srcOrd="4" destOrd="0" presId="urn:microsoft.com/office/officeart/2018/2/layout/IconVerticalSolidList"/>
    <dgm:cxn modelId="{4D46D257-0503-AD48-B78E-A76024ECD191}" type="presParOf" srcId="{176FE054-C86F-954D-A6E2-8BB8E13D340C}" destId="{8EFE74B3-84A4-D046-8F3A-12CD06D7027B}" srcOrd="0" destOrd="0" presId="urn:microsoft.com/office/officeart/2018/2/layout/IconVerticalSolidList"/>
    <dgm:cxn modelId="{1DC83139-984B-6240-9C18-1DDE4FFBA9C0}" type="presParOf" srcId="{176FE054-C86F-954D-A6E2-8BB8E13D340C}" destId="{CF84B3D9-C862-5944-A0F2-FD2C786C3912}" srcOrd="1" destOrd="0" presId="urn:microsoft.com/office/officeart/2018/2/layout/IconVerticalSolidList"/>
    <dgm:cxn modelId="{463B9CBB-A393-734A-8A5A-CC165609E556}" type="presParOf" srcId="{176FE054-C86F-954D-A6E2-8BB8E13D340C}" destId="{88B3E1EB-FD04-9544-A5DE-FC71164FFD43}" srcOrd="2" destOrd="0" presId="urn:microsoft.com/office/officeart/2018/2/layout/IconVerticalSolidList"/>
    <dgm:cxn modelId="{06270741-82B2-6648-BC03-4679936FC31C}" type="presParOf" srcId="{176FE054-C86F-954D-A6E2-8BB8E13D340C}" destId="{8EC0F76C-0098-F047-A6AF-4E16FC91D5AB}" srcOrd="3" destOrd="0" presId="urn:microsoft.com/office/officeart/2018/2/layout/IconVerticalSolidList"/>
    <dgm:cxn modelId="{E40A7D2C-DA8F-4845-8BC5-249876481641}" type="presParOf" srcId="{176FE054-C86F-954D-A6E2-8BB8E13D340C}" destId="{C12C1FFF-A625-2841-A77B-342A3CEE94CC}"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E3617A4-FE16-41A4-BE16-81511148FC99}" type="doc">
      <dgm:prSet loTypeId="urn:microsoft.com/office/officeart/2005/8/layout/target3" loCatId="process" qsTypeId="urn:microsoft.com/office/officeart/2005/8/quickstyle/simple2" qsCatId="simple" csTypeId="urn:microsoft.com/office/officeart/2005/8/colors/accent1_2" csCatId="accent1" phldr="1"/>
      <dgm:spPr/>
      <dgm:t>
        <a:bodyPr/>
        <a:lstStyle/>
        <a:p>
          <a:endParaRPr lang="en-US"/>
        </a:p>
      </dgm:t>
    </dgm:pt>
    <dgm:pt modelId="{EBCF7523-041B-41E7-9E46-6C2444BF003D}">
      <dgm:prSet/>
      <dgm:spPr/>
      <dgm:t>
        <a:bodyPr/>
        <a:lstStyle/>
        <a:p>
          <a:pPr algn="l"/>
          <a:r>
            <a:rPr lang="en-US" b="0" i="0" dirty="0"/>
            <a:t>Function as abbreviated </a:t>
          </a:r>
          <a:r>
            <a:rPr lang="en-US" b="0" i="0" u="none" strike="noStrike" dirty="0">
              <a:solidFill>
                <a:srgbClr val="2E2E2E"/>
              </a:solidFill>
              <a:effectLst/>
              <a:latin typeface="nexussans"/>
            </a:rPr>
            <a:t>Life Cycle Analysis (LCAs)</a:t>
          </a:r>
          <a:endParaRPr lang="en-US" dirty="0"/>
        </a:p>
      </dgm:t>
    </dgm:pt>
    <dgm:pt modelId="{94094396-D7D6-415D-8743-6FE767599AA2}" type="parTrans" cxnId="{66534BDC-4B3D-4832-BE72-4F178BD7F42A}">
      <dgm:prSet/>
      <dgm:spPr/>
      <dgm:t>
        <a:bodyPr/>
        <a:lstStyle/>
        <a:p>
          <a:endParaRPr lang="en-US"/>
        </a:p>
      </dgm:t>
    </dgm:pt>
    <dgm:pt modelId="{ACD11F20-E7B2-48FA-B8D9-BFAA90FE8555}" type="sibTrans" cxnId="{66534BDC-4B3D-4832-BE72-4F178BD7F42A}">
      <dgm:prSet/>
      <dgm:spPr/>
      <dgm:t>
        <a:bodyPr/>
        <a:lstStyle/>
        <a:p>
          <a:endParaRPr lang="en-US" dirty="0"/>
        </a:p>
      </dgm:t>
    </dgm:pt>
    <dgm:pt modelId="{971AB2A5-5AE9-1F49-BB09-016FA4296D3E}">
      <dgm:prSet/>
      <dgm:spPr/>
      <dgm:t>
        <a:bodyPr/>
        <a:lstStyle/>
        <a:p>
          <a:pPr algn="l"/>
          <a:r>
            <a:rPr lang="en-US" b="0" i="0" u="none" dirty="0"/>
            <a:t>Can be industry-wide, product-specific, supply chain-specific, facility-specific.  </a:t>
          </a:r>
          <a:endParaRPr lang="en-US" b="0" dirty="0"/>
        </a:p>
      </dgm:t>
    </dgm:pt>
    <dgm:pt modelId="{CBA3A14F-7E8C-454A-9B97-C8D981F6B5C5}" type="parTrans" cxnId="{1286FEFD-2D4B-D045-B255-133C7CBD91E3}">
      <dgm:prSet/>
      <dgm:spPr/>
      <dgm:t>
        <a:bodyPr/>
        <a:lstStyle/>
        <a:p>
          <a:endParaRPr lang="en-US"/>
        </a:p>
      </dgm:t>
    </dgm:pt>
    <dgm:pt modelId="{1F37CFD6-F270-5840-AF85-9217CC525E1C}" type="sibTrans" cxnId="{1286FEFD-2D4B-D045-B255-133C7CBD91E3}">
      <dgm:prSet/>
      <dgm:spPr/>
      <dgm:t>
        <a:bodyPr/>
        <a:lstStyle/>
        <a:p>
          <a:endParaRPr lang="en-US"/>
        </a:p>
      </dgm:t>
    </dgm:pt>
    <dgm:pt modelId="{F737037E-CCF6-AA4C-A152-1E91F3AC3825}">
      <dgm:prSet/>
      <dgm:spPr/>
      <dgm:t>
        <a:bodyPr/>
        <a:lstStyle/>
        <a:p>
          <a:pPr algn="l"/>
          <a:r>
            <a:rPr lang="en-US" dirty="0"/>
            <a:t>Allows for </a:t>
          </a:r>
          <a:r>
            <a:rPr lang="en-US" i="0" dirty="0"/>
            <a:t>comparisons with products performing same function. </a:t>
          </a:r>
        </a:p>
      </dgm:t>
    </dgm:pt>
    <dgm:pt modelId="{FD7B1129-7346-9548-87A9-69F56EA7729E}" type="parTrans" cxnId="{1E1A32F9-C252-C84B-B277-A94FB71B76C3}">
      <dgm:prSet/>
      <dgm:spPr/>
      <dgm:t>
        <a:bodyPr/>
        <a:lstStyle/>
        <a:p>
          <a:endParaRPr lang="en-US"/>
        </a:p>
      </dgm:t>
    </dgm:pt>
    <dgm:pt modelId="{00C25C77-7127-1B42-BEEA-312E821E6DF1}" type="sibTrans" cxnId="{1E1A32F9-C252-C84B-B277-A94FB71B76C3}">
      <dgm:prSet/>
      <dgm:spPr/>
      <dgm:t>
        <a:bodyPr/>
        <a:lstStyle/>
        <a:p>
          <a:endParaRPr lang="en-US"/>
        </a:p>
      </dgm:t>
    </dgm:pt>
    <dgm:pt modelId="{C0D24A06-973B-D342-8945-2D3D16D03334}">
      <dgm:prSet/>
      <dgm:spPr/>
      <dgm:t>
        <a:bodyPr/>
        <a:lstStyle/>
        <a:p>
          <a:pPr algn="l"/>
          <a:r>
            <a:rPr lang="en-US" dirty="0"/>
            <a:t>First used in Sweden in 1997</a:t>
          </a:r>
        </a:p>
      </dgm:t>
    </dgm:pt>
    <dgm:pt modelId="{B4371AC5-01D5-9641-BB9B-96238CB5055E}" type="parTrans" cxnId="{0D283ADE-B414-AA4C-A31D-13134A707E04}">
      <dgm:prSet/>
      <dgm:spPr/>
      <dgm:t>
        <a:bodyPr/>
        <a:lstStyle/>
        <a:p>
          <a:endParaRPr lang="en-US"/>
        </a:p>
      </dgm:t>
    </dgm:pt>
    <dgm:pt modelId="{19388347-606C-0A4B-98F2-599FE2AE034E}" type="sibTrans" cxnId="{0D283ADE-B414-AA4C-A31D-13134A707E04}">
      <dgm:prSet/>
      <dgm:spPr/>
      <dgm:t>
        <a:bodyPr/>
        <a:lstStyle/>
        <a:p>
          <a:endParaRPr lang="en-US"/>
        </a:p>
      </dgm:t>
    </dgm:pt>
    <dgm:pt modelId="{7D4880B9-E50B-EB4F-B246-5F18D033DFCC}">
      <dgm:prSet/>
      <dgm:spPr/>
      <dgm:t>
        <a:bodyPr/>
        <a:lstStyle/>
        <a:p>
          <a:pPr algn="l"/>
          <a:r>
            <a:rPr lang="en-US" dirty="0"/>
            <a:t>Vary by scope according to Life Cycle ranges.</a:t>
          </a:r>
        </a:p>
      </dgm:t>
    </dgm:pt>
    <dgm:pt modelId="{463A51C0-274D-A04D-8C24-2FDE2A9CE1C9}" type="parTrans" cxnId="{30A918F1-412E-D047-9E45-4BC9F447BB96}">
      <dgm:prSet/>
      <dgm:spPr/>
      <dgm:t>
        <a:bodyPr/>
        <a:lstStyle/>
        <a:p>
          <a:endParaRPr lang="en-US"/>
        </a:p>
      </dgm:t>
    </dgm:pt>
    <dgm:pt modelId="{A79F5EB4-EEC3-E847-B4F3-F76F73A3FB5B}" type="sibTrans" cxnId="{30A918F1-412E-D047-9E45-4BC9F447BB96}">
      <dgm:prSet/>
      <dgm:spPr/>
      <dgm:t>
        <a:bodyPr/>
        <a:lstStyle/>
        <a:p>
          <a:endParaRPr lang="en-US"/>
        </a:p>
      </dgm:t>
    </dgm:pt>
    <dgm:pt modelId="{89D9743A-7AB6-A245-A426-DFDEC29C4698}" type="pres">
      <dgm:prSet presAssocID="{2E3617A4-FE16-41A4-BE16-81511148FC99}" presName="Name0" presStyleCnt="0">
        <dgm:presLayoutVars>
          <dgm:chMax val="7"/>
          <dgm:dir/>
          <dgm:animLvl val="lvl"/>
          <dgm:resizeHandles val="exact"/>
        </dgm:presLayoutVars>
      </dgm:prSet>
      <dgm:spPr/>
    </dgm:pt>
    <dgm:pt modelId="{A75C90AA-81F2-EB43-BD4C-48346956A84C}" type="pres">
      <dgm:prSet presAssocID="{F737037E-CCF6-AA4C-A152-1E91F3AC3825}" presName="circle1" presStyleLbl="node1" presStyleIdx="0" presStyleCnt="5"/>
      <dgm:spPr/>
    </dgm:pt>
    <dgm:pt modelId="{5638F0DE-9604-EC45-9E4E-9FD6F65FB1FC}" type="pres">
      <dgm:prSet presAssocID="{F737037E-CCF6-AA4C-A152-1E91F3AC3825}" presName="space" presStyleCnt="0"/>
      <dgm:spPr/>
    </dgm:pt>
    <dgm:pt modelId="{4937358D-AE4C-9948-85EF-25674570090A}" type="pres">
      <dgm:prSet presAssocID="{F737037E-CCF6-AA4C-A152-1E91F3AC3825}" presName="rect1" presStyleLbl="alignAcc1" presStyleIdx="0" presStyleCnt="5"/>
      <dgm:spPr/>
    </dgm:pt>
    <dgm:pt modelId="{AD361BEB-D5E5-014C-B2DA-88E08838B4B0}" type="pres">
      <dgm:prSet presAssocID="{C0D24A06-973B-D342-8945-2D3D16D03334}" presName="vertSpace2" presStyleLbl="node1" presStyleIdx="0" presStyleCnt="5"/>
      <dgm:spPr/>
    </dgm:pt>
    <dgm:pt modelId="{3DEE836B-4440-5349-A308-420FCC43989B}" type="pres">
      <dgm:prSet presAssocID="{C0D24A06-973B-D342-8945-2D3D16D03334}" presName="circle2" presStyleLbl="node1" presStyleIdx="1" presStyleCnt="5"/>
      <dgm:spPr/>
    </dgm:pt>
    <dgm:pt modelId="{3E4B11DB-B714-334C-8DE5-912B18C9ED4D}" type="pres">
      <dgm:prSet presAssocID="{C0D24A06-973B-D342-8945-2D3D16D03334}" presName="rect2" presStyleLbl="alignAcc1" presStyleIdx="1" presStyleCnt="5" custLinFactNeighborY="10"/>
      <dgm:spPr/>
    </dgm:pt>
    <dgm:pt modelId="{B1062C07-17F8-5A45-82B2-7AE7AB0B20DC}" type="pres">
      <dgm:prSet presAssocID="{EBCF7523-041B-41E7-9E46-6C2444BF003D}" presName="vertSpace3" presStyleLbl="node1" presStyleIdx="1" presStyleCnt="5"/>
      <dgm:spPr/>
    </dgm:pt>
    <dgm:pt modelId="{1FA02AFB-18E8-7F41-9C74-BD60326890A1}" type="pres">
      <dgm:prSet presAssocID="{EBCF7523-041B-41E7-9E46-6C2444BF003D}" presName="circle3" presStyleLbl="node1" presStyleIdx="2" presStyleCnt="5"/>
      <dgm:spPr/>
    </dgm:pt>
    <dgm:pt modelId="{38FB7463-05BC-0E40-9BDE-8F99CF7699CF}" type="pres">
      <dgm:prSet presAssocID="{EBCF7523-041B-41E7-9E46-6C2444BF003D}" presName="rect3" presStyleLbl="alignAcc1" presStyleIdx="2" presStyleCnt="5"/>
      <dgm:spPr/>
    </dgm:pt>
    <dgm:pt modelId="{3F203AF5-EFCB-774A-A888-44CD2D246BB0}" type="pres">
      <dgm:prSet presAssocID="{971AB2A5-5AE9-1F49-BB09-016FA4296D3E}" presName="vertSpace4" presStyleLbl="node1" presStyleIdx="2" presStyleCnt="5"/>
      <dgm:spPr/>
    </dgm:pt>
    <dgm:pt modelId="{D78BF4C4-BD9B-5740-A5AC-5F67D8175BE8}" type="pres">
      <dgm:prSet presAssocID="{971AB2A5-5AE9-1F49-BB09-016FA4296D3E}" presName="circle4" presStyleLbl="node1" presStyleIdx="3" presStyleCnt="5"/>
      <dgm:spPr/>
    </dgm:pt>
    <dgm:pt modelId="{B0D01EA5-4291-304C-8737-6F964C74803A}" type="pres">
      <dgm:prSet presAssocID="{971AB2A5-5AE9-1F49-BB09-016FA4296D3E}" presName="rect4" presStyleLbl="alignAcc1" presStyleIdx="3" presStyleCnt="5"/>
      <dgm:spPr/>
    </dgm:pt>
    <dgm:pt modelId="{4FC1423B-D1DE-BD43-917F-DD7FAC804316}" type="pres">
      <dgm:prSet presAssocID="{7D4880B9-E50B-EB4F-B246-5F18D033DFCC}" presName="vertSpace5" presStyleLbl="node1" presStyleIdx="3" presStyleCnt="5"/>
      <dgm:spPr/>
    </dgm:pt>
    <dgm:pt modelId="{D570A07E-2DDF-9848-BA4F-3ABF33A3F697}" type="pres">
      <dgm:prSet presAssocID="{7D4880B9-E50B-EB4F-B246-5F18D033DFCC}" presName="circle5" presStyleLbl="node1" presStyleIdx="4" presStyleCnt="5"/>
      <dgm:spPr/>
    </dgm:pt>
    <dgm:pt modelId="{E365EE7B-1ACF-2541-90B5-BBE0B4ADE950}" type="pres">
      <dgm:prSet presAssocID="{7D4880B9-E50B-EB4F-B246-5F18D033DFCC}" presName="rect5" presStyleLbl="alignAcc1" presStyleIdx="4" presStyleCnt="5"/>
      <dgm:spPr/>
    </dgm:pt>
    <dgm:pt modelId="{6E844EF1-132A-CA4A-9E65-C2AA02547066}" type="pres">
      <dgm:prSet presAssocID="{F737037E-CCF6-AA4C-A152-1E91F3AC3825}" presName="rect1ParTxNoCh" presStyleLbl="alignAcc1" presStyleIdx="4" presStyleCnt="5">
        <dgm:presLayoutVars>
          <dgm:chMax val="1"/>
          <dgm:bulletEnabled val="1"/>
        </dgm:presLayoutVars>
      </dgm:prSet>
      <dgm:spPr/>
    </dgm:pt>
    <dgm:pt modelId="{60031A62-7407-8347-87D1-1D0279A87F3B}" type="pres">
      <dgm:prSet presAssocID="{C0D24A06-973B-D342-8945-2D3D16D03334}" presName="rect2ParTxNoCh" presStyleLbl="alignAcc1" presStyleIdx="4" presStyleCnt="5">
        <dgm:presLayoutVars>
          <dgm:chMax val="1"/>
          <dgm:bulletEnabled val="1"/>
        </dgm:presLayoutVars>
      </dgm:prSet>
      <dgm:spPr/>
    </dgm:pt>
    <dgm:pt modelId="{F7B8DC9C-304E-4143-A20B-F64AF3D80C64}" type="pres">
      <dgm:prSet presAssocID="{EBCF7523-041B-41E7-9E46-6C2444BF003D}" presName="rect3ParTxNoCh" presStyleLbl="alignAcc1" presStyleIdx="4" presStyleCnt="5">
        <dgm:presLayoutVars>
          <dgm:chMax val="1"/>
          <dgm:bulletEnabled val="1"/>
        </dgm:presLayoutVars>
      </dgm:prSet>
      <dgm:spPr/>
    </dgm:pt>
    <dgm:pt modelId="{BABFEC1B-ECD8-2E42-95AB-BF79EDC10B9D}" type="pres">
      <dgm:prSet presAssocID="{971AB2A5-5AE9-1F49-BB09-016FA4296D3E}" presName="rect4ParTxNoCh" presStyleLbl="alignAcc1" presStyleIdx="4" presStyleCnt="5">
        <dgm:presLayoutVars>
          <dgm:chMax val="1"/>
          <dgm:bulletEnabled val="1"/>
        </dgm:presLayoutVars>
      </dgm:prSet>
      <dgm:spPr/>
    </dgm:pt>
    <dgm:pt modelId="{99F539D1-7C32-8542-BD33-A780571E6490}" type="pres">
      <dgm:prSet presAssocID="{7D4880B9-E50B-EB4F-B246-5F18D033DFCC}" presName="rect5ParTxNoCh" presStyleLbl="alignAcc1" presStyleIdx="4" presStyleCnt="5">
        <dgm:presLayoutVars>
          <dgm:chMax val="1"/>
          <dgm:bulletEnabled val="1"/>
        </dgm:presLayoutVars>
      </dgm:prSet>
      <dgm:spPr/>
    </dgm:pt>
  </dgm:ptLst>
  <dgm:cxnLst>
    <dgm:cxn modelId="{FE285204-846A-3740-A564-06BA05FCBF89}" type="presOf" srcId="{7D4880B9-E50B-EB4F-B246-5F18D033DFCC}" destId="{99F539D1-7C32-8542-BD33-A780571E6490}" srcOrd="1" destOrd="0" presId="urn:microsoft.com/office/officeart/2005/8/layout/target3"/>
    <dgm:cxn modelId="{C25B6309-9FEF-A349-9EEA-D9555D708784}" type="presOf" srcId="{EBCF7523-041B-41E7-9E46-6C2444BF003D}" destId="{F7B8DC9C-304E-4143-A20B-F64AF3D80C64}" srcOrd="1" destOrd="0" presId="urn:microsoft.com/office/officeart/2005/8/layout/target3"/>
    <dgm:cxn modelId="{61EBAC16-92A1-2840-B3B0-4AF93148137B}" type="presOf" srcId="{7D4880B9-E50B-EB4F-B246-5F18D033DFCC}" destId="{E365EE7B-1ACF-2541-90B5-BBE0B4ADE950}" srcOrd="0" destOrd="0" presId="urn:microsoft.com/office/officeart/2005/8/layout/target3"/>
    <dgm:cxn modelId="{676F4F1C-7473-4F4F-9F77-8A2D3AA71093}" type="presOf" srcId="{971AB2A5-5AE9-1F49-BB09-016FA4296D3E}" destId="{B0D01EA5-4291-304C-8737-6F964C74803A}" srcOrd="0" destOrd="0" presId="urn:microsoft.com/office/officeart/2005/8/layout/target3"/>
    <dgm:cxn modelId="{F7A2DD24-F861-2E48-A838-3E43DECAF457}" type="presOf" srcId="{971AB2A5-5AE9-1F49-BB09-016FA4296D3E}" destId="{BABFEC1B-ECD8-2E42-95AB-BF79EDC10B9D}" srcOrd="1" destOrd="0" presId="urn:microsoft.com/office/officeart/2005/8/layout/target3"/>
    <dgm:cxn modelId="{B084402D-A83D-6341-B168-DA0CDA6E1DEE}" type="presOf" srcId="{F737037E-CCF6-AA4C-A152-1E91F3AC3825}" destId="{6E844EF1-132A-CA4A-9E65-C2AA02547066}" srcOrd="1" destOrd="0" presId="urn:microsoft.com/office/officeart/2005/8/layout/target3"/>
    <dgm:cxn modelId="{EB32BB3F-A4B2-1740-8DDF-C11E8255E041}" type="presOf" srcId="{C0D24A06-973B-D342-8945-2D3D16D03334}" destId="{3E4B11DB-B714-334C-8DE5-912B18C9ED4D}" srcOrd="0" destOrd="0" presId="urn:microsoft.com/office/officeart/2005/8/layout/target3"/>
    <dgm:cxn modelId="{35A0EE95-BA4E-5F46-86FD-5377E0988B38}" type="presOf" srcId="{F737037E-CCF6-AA4C-A152-1E91F3AC3825}" destId="{4937358D-AE4C-9948-85EF-25674570090A}" srcOrd="0" destOrd="0" presId="urn:microsoft.com/office/officeart/2005/8/layout/target3"/>
    <dgm:cxn modelId="{C4B8099F-265F-554C-B5E0-0F43A281883F}" type="presOf" srcId="{EBCF7523-041B-41E7-9E46-6C2444BF003D}" destId="{38FB7463-05BC-0E40-9BDE-8F99CF7699CF}" srcOrd="0" destOrd="0" presId="urn:microsoft.com/office/officeart/2005/8/layout/target3"/>
    <dgm:cxn modelId="{008CEFAD-F793-E54A-92B6-CDBA1C2B073C}" type="presOf" srcId="{C0D24A06-973B-D342-8945-2D3D16D03334}" destId="{60031A62-7407-8347-87D1-1D0279A87F3B}" srcOrd="1" destOrd="0" presId="urn:microsoft.com/office/officeart/2005/8/layout/target3"/>
    <dgm:cxn modelId="{66534BDC-4B3D-4832-BE72-4F178BD7F42A}" srcId="{2E3617A4-FE16-41A4-BE16-81511148FC99}" destId="{EBCF7523-041B-41E7-9E46-6C2444BF003D}" srcOrd="2" destOrd="0" parTransId="{94094396-D7D6-415D-8743-6FE767599AA2}" sibTransId="{ACD11F20-E7B2-48FA-B8D9-BFAA90FE8555}"/>
    <dgm:cxn modelId="{0D283ADE-B414-AA4C-A31D-13134A707E04}" srcId="{2E3617A4-FE16-41A4-BE16-81511148FC99}" destId="{C0D24A06-973B-D342-8945-2D3D16D03334}" srcOrd="1" destOrd="0" parTransId="{B4371AC5-01D5-9641-BB9B-96238CB5055E}" sibTransId="{19388347-606C-0A4B-98F2-599FE2AE034E}"/>
    <dgm:cxn modelId="{30A918F1-412E-D047-9E45-4BC9F447BB96}" srcId="{2E3617A4-FE16-41A4-BE16-81511148FC99}" destId="{7D4880B9-E50B-EB4F-B246-5F18D033DFCC}" srcOrd="4" destOrd="0" parTransId="{463A51C0-274D-A04D-8C24-2FDE2A9CE1C9}" sibTransId="{A79F5EB4-EEC3-E847-B4F3-F76F73A3FB5B}"/>
    <dgm:cxn modelId="{268861F4-74EE-B844-A523-F515BC0394A3}" type="presOf" srcId="{2E3617A4-FE16-41A4-BE16-81511148FC99}" destId="{89D9743A-7AB6-A245-A426-DFDEC29C4698}" srcOrd="0" destOrd="0" presId="urn:microsoft.com/office/officeart/2005/8/layout/target3"/>
    <dgm:cxn modelId="{1E1A32F9-C252-C84B-B277-A94FB71B76C3}" srcId="{2E3617A4-FE16-41A4-BE16-81511148FC99}" destId="{F737037E-CCF6-AA4C-A152-1E91F3AC3825}" srcOrd="0" destOrd="0" parTransId="{FD7B1129-7346-9548-87A9-69F56EA7729E}" sibTransId="{00C25C77-7127-1B42-BEEA-312E821E6DF1}"/>
    <dgm:cxn modelId="{1286FEFD-2D4B-D045-B255-133C7CBD91E3}" srcId="{2E3617A4-FE16-41A4-BE16-81511148FC99}" destId="{971AB2A5-5AE9-1F49-BB09-016FA4296D3E}" srcOrd="3" destOrd="0" parTransId="{CBA3A14F-7E8C-454A-9B97-C8D981F6B5C5}" sibTransId="{1F37CFD6-F270-5840-AF85-9217CC525E1C}"/>
    <dgm:cxn modelId="{EB837290-72B9-3346-870D-862E0F568FD9}" type="presParOf" srcId="{89D9743A-7AB6-A245-A426-DFDEC29C4698}" destId="{A75C90AA-81F2-EB43-BD4C-48346956A84C}" srcOrd="0" destOrd="0" presId="urn:microsoft.com/office/officeart/2005/8/layout/target3"/>
    <dgm:cxn modelId="{B1461845-EF0B-DE43-B147-5CB291D11E7B}" type="presParOf" srcId="{89D9743A-7AB6-A245-A426-DFDEC29C4698}" destId="{5638F0DE-9604-EC45-9E4E-9FD6F65FB1FC}" srcOrd="1" destOrd="0" presId="urn:microsoft.com/office/officeart/2005/8/layout/target3"/>
    <dgm:cxn modelId="{D9C7C319-8331-E84E-9003-4EC702E93A90}" type="presParOf" srcId="{89D9743A-7AB6-A245-A426-DFDEC29C4698}" destId="{4937358D-AE4C-9948-85EF-25674570090A}" srcOrd="2" destOrd="0" presId="urn:microsoft.com/office/officeart/2005/8/layout/target3"/>
    <dgm:cxn modelId="{1A6D1C33-932B-DB40-8CAB-3E07F801EC50}" type="presParOf" srcId="{89D9743A-7AB6-A245-A426-DFDEC29C4698}" destId="{AD361BEB-D5E5-014C-B2DA-88E08838B4B0}" srcOrd="3" destOrd="0" presId="urn:microsoft.com/office/officeart/2005/8/layout/target3"/>
    <dgm:cxn modelId="{9233A948-2C66-214F-8726-BCE057DBB33C}" type="presParOf" srcId="{89D9743A-7AB6-A245-A426-DFDEC29C4698}" destId="{3DEE836B-4440-5349-A308-420FCC43989B}" srcOrd="4" destOrd="0" presId="urn:microsoft.com/office/officeart/2005/8/layout/target3"/>
    <dgm:cxn modelId="{B5437DAD-3927-FB49-9944-C2686302596F}" type="presParOf" srcId="{89D9743A-7AB6-A245-A426-DFDEC29C4698}" destId="{3E4B11DB-B714-334C-8DE5-912B18C9ED4D}" srcOrd="5" destOrd="0" presId="urn:microsoft.com/office/officeart/2005/8/layout/target3"/>
    <dgm:cxn modelId="{FBF4668E-1527-AF48-B5EC-0F77AF7D2BE3}" type="presParOf" srcId="{89D9743A-7AB6-A245-A426-DFDEC29C4698}" destId="{B1062C07-17F8-5A45-82B2-7AE7AB0B20DC}" srcOrd="6" destOrd="0" presId="urn:microsoft.com/office/officeart/2005/8/layout/target3"/>
    <dgm:cxn modelId="{30AB4D35-ADEA-6F4B-86B8-097756761A30}" type="presParOf" srcId="{89D9743A-7AB6-A245-A426-DFDEC29C4698}" destId="{1FA02AFB-18E8-7F41-9C74-BD60326890A1}" srcOrd="7" destOrd="0" presId="urn:microsoft.com/office/officeart/2005/8/layout/target3"/>
    <dgm:cxn modelId="{A5344BEF-5FB4-6D40-BFA3-91A853597FED}" type="presParOf" srcId="{89D9743A-7AB6-A245-A426-DFDEC29C4698}" destId="{38FB7463-05BC-0E40-9BDE-8F99CF7699CF}" srcOrd="8" destOrd="0" presId="urn:microsoft.com/office/officeart/2005/8/layout/target3"/>
    <dgm:cxn modelId="{2C8C96E0-2DF4-0145-B9A1-3547DB9FEAFE}" type="presParOf" srcId="{89D9743A-7AB6-A245-A426-DFDEC29C4698}" destId="{3F203AF5-EFCB-774A-A888-44CD2D246BB0}" srcOrd="9" destOrd="0" presId="urn:microsoft.com/office/officeart/2005/8/layout/target3"/>
    <dgm:cxn modelId="{8C816840-1267-2E40-B55F-E730DF6B11BB}" type="presParOf" srcId="{89D9743A-7AB6-A245-A426-DFDEC29C4698}" destId="{D78BF4C4-BD9B-5740-A5AC-5F67D8175BE8}" srcOrd="10" destOrd="0" presId="urn:microsoft.com/office/officeart/2005/8/layout/target3"/>
    <dgm:cxn modelId="{D2D775C4-292B-0149-A4D2-30570DBC4F72}" type="presParOf" srcId="{89D9743A-7AB6-A245-A426-DFDEC29C4698}" destId="{B0D01EA5-4291-304C-8737-6F964C74803A}" srcOrd="11" destOrd="0" presId="urn:microsoft.com/office/officeart/2005/8/layout/target3"/>
    <dgm:cxn modelId="{06B8C5C0-803F-6B45-8CC0-335DAE19793E}" type="presParOf" srcId="{89D9743A-7AB6-A245-A426-DFDEC29C4698}" destId="{4FC1423B-D1DE-BD43-917F-DD7FAC804316}" srcOrd="12" destOrd="0" presId="urn:microsoft.com/office/officeart/2005/8/layout/target3"/>
    <dgm:cxn modelId="{56E4E769-DE7C-AC46-9CB1-8D21751FEF46}" type="presParOf" srcId="{89D9743A-7AB6-A245-A426-DFDEC29C4698}" destId="{D570A07E-2DDF-9848-BA4F-3ABF33A3F697}" srcOrd="13" destOrd="0" presId="urn:microsoft.com/office/officeart/2005/8/layout/target3"/>
    <dgm:cxn modelId="{7FC0F8B0-496C-0F4A-825B-0C59A9951387}" type="presParOf" srcId="{89D9743A-7AB6-A245-A426-DFDEC29C4698}" destId="{E365EE7B-1ACF-2541-90B5-BBE0B4ADE950}" srcOrd="14" destOrd="0" presId="urn:microsoft.com/office/officeart/2005/8/layout/target3"/>
    <dgm:cxn modelId="{0D70580D-73F7-D647-9170-A4DCC8C04784}" type="presParOf" srcId="{89D9743A-7AB6-A245-A426-DFDEC29C4698}" destId="{6E844EF1-132A-CA4A-9E65-C2AA02547066}" srcOrd="15" destOrd="0" presId="urn:microsoft.com/office/officeart/2005/8/layout/target3"/>
    <dgm:cxn modelId="{82BECF4B-36D8-934D-A5E4-B8FF3A8E1269}" type="presParOf" srcId="{89D9743A-7AB6-A245-A426-DFDEC29C4698}" destId="{60031A62-7407-8347-87D1-1D0279A87F3B}" srcOrd="16" destOrd="0" presId="urn:microsoft.com/office/officeart/2005/8/layout/target3"/>
    <dgm:cxn modelId="{21154D5C-2DA2-D14C-A9EE-7D1DAADD054D}" type="presParOf" srcId="{89D9743A-7AB6-A245-A426-DFDEC29C4698}" destId="{F7B8DC9C-304E-4143-A20B-F64AF3D80C64}" srcOrd="17" destOrd="0" presId="urn:microsoft.com/office/officeart/2005/8/layout/target3"/>
    <dgm:cxn modelId="{A574EF37-1AE7-CF4D-A1FA-726A41E78699}" type="presParOf" srcId="{89D9743A-7AB6-A245-A426-DFDEC29C4698}" destId="{BABFEC1B-ECD8-2E42-95AB-BF79EDC10B9D}" srcOrd="18" destOrd="0" presId="urn:microsoft.com/office/officeart/2005/8/layout/target3"/>
    <dgm:cxn modelId="{7A601EAE-74AC-A04D-B6C4-23EBABE1EC3B}" type="presParOf" srcId="{89D9743A-7AB6-A245-A426-DFDEC29C4698}" destId="{99F539D1-7C32-8542-BD33-A780571E6490}" srcOrd="19"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8C15452-9D72-0D41-9E5C-39D53700AAE2}" type="doc">
      <dgm:prSet loTypeId="urn:microsoft.com/office/officeart/2008/layout/LinedList" loCatId="icon" qsTypeId="urn:microsoft.com/office/officeart/2005/8/quickstyle/simple1" qsCatId="simple" csTypeId="urn:microsoft.com/office/officeart/2005/8/colors/accent1_2" csCatId="accent1"/>
      <dgm:spPr/>
      <dgm:t>
        <a:bodyPr/>
        <a:lstStyle/>
        <a:p>
          <a:endParaRPr lang="en-US"/>
        </a:p>
      </dgm:t>
    </dgm:pt>
    <dgm:pt modelId="{2FBD890C-FEEC-DA48-94EB-4C63EC7527A9}">
      <dgm:prSet/>
      <dgm:spPr/>
      <dgm:t>
        <a:bodyPr/>
        <a:lstStyle/>
        <a:p>
          <a:r>
            <a:rPr lang="en-US" b="0" i="0" dirty="0"/>
            <a:t>PCR: product category rules</a:t>
          </a:r>
          <a:endParaRPr lang="en-US" dirty="0"/>
        </a:p>
      </dgm:t>
    </dgm:pt>
    <dgm:pt modelId="{0C5B54F3-2CAB-BF4D-921C-B2CAE49A4B0C}" type="parTrans" cxnId="{5B92D4E8-CC21-114D-B4F5-9A8BF065C0A0}">
      <dgm:prSet/>
      <dgm:spPr/>
      <dgm:t>
        <a:bodyPr/>
        <a:lstStyle/>
        <a:p>
          <a:endParaRPr lang="en-US"/>
        </a:p>
      </dgm:t>
    </dgm:pt>
    <dgm:pt modelId="{9CF13A2F-7742-B54B-80B3-B4036CC834E4}" type="sibTrans" cxnId="{5B92D4E8-CC21-114D-B4F5-9A8BF065C0A0}">
      <dgm:prSet/>
      <dgm:spPr/>
      <dgm:t>
        <a:bodyPr/>
        <a:lstStyle/>
        <a:p>
          <a:endParaRPr lang="en-US"/>
        </a:p>
      </dgm:t>
    </dgm:pt>
    <dgm:pt modelId="{38048078-C102-E342-BB09-B68726A294DE}">
      <dgm:prSet/>
      <dgm:spPr/>
      <dgm:t>
        <a:bodyPr/>
        <a:lstStyle/>
        <a:p>
          <a:r>
            <a:rPr lang="en-US" dirty="0"/>
            <a:t>LCA: Life Cycle Analysis</a:t>
          </a:r>
        </a:p>
      </dgm:t>
    </dgm:pt>
    <dgm:pt modelId="{995E7642-B73D-1948-8F9B-D2B2D141A5EA}" type="parTrans" cxnId="{9F03FD7F-78A9-7C4D-A413-2911887DD44F}">
      <dgm:prSet/>
      <dgm:spPr/>
      <dgm:t>
        <a:bodyPr/>
        <a:lstStyle/>
        <a:p>
          <a:endParaRPr lang="en-US"/>
        </a:p>
      </dgm:t>
    </dgm:pt>
    <dgm:pt modelId="{9CCF0181-3E54-1648-A209-83CCC903A698}" type="sibTrans" cxnId="{9F03FD7F-78A9-7C4D-A413-2911887DD44F}">
      <dgm:prSet/>
      <dgm:spPr/>
      <dgm:t>
        <a:bodyPr/>
        <a:lstStyle/>
        <a:p>
          <a:endParaRPr lang="en-US"/>
        </a:p>
      </dgm:t>
    </dgm:pt>
    <dgm:pt modelId="{228D7A0E-BCB3-2E49-B832-8F902EB71860}">
      <dgm:prSet/>
      <dgm:spPr/>
      <dgm:t>
        <a:bodyPr/>
        <a:lstStyle/>
        <a:p>
          <a:r>
            <a:rPr lang="en-US" dirty="0"/>
            <a:t>EPD: Environmental  Product Declaration </a:t>
          </a:r>
        </a:p>
      </dgm:t>
    </dgm:pt>
    <dgm:pt modelId="{40E55C86-3655-8E4D-904A-06A6BC6F0AD7}" type="parTrans" cxnId="{D93C6179-21F9-1249-A543-700358B3C0F1}">
      <dgm:prSet/>
      <dgm:spPr/>
      <dgm:t>
        <a:bodyPr/>
        <a:lstStyle/>
        <a:p>
          <a:endParaRPr lang="en-US"/>
        </a:p>
      </dgm:t>
    </dgm:pt>
    <dgm:pt modelId="{B0B5BA2C-8E8E-4247-B445-7EB0F679917B}" type="sibTrans" cxnId="{D93C6179-21F9-1249-A543-700358B3C0F1}">
      <dgm:prSet/>
      <dgm:spPr/>
      <dgm:t>
        <a:bodyPr/>
        <a:lstStyle/>
        <a:p>
          <a:endParaRPr lang="en-US"/>
        </a:p>
      </dgm:t>
    </dgm:pt>
    <dgm:pt modelId="{5403E945-F43F-A746-90AF-A4415189A9DF}" type="pres">
      <dgm:prSet presAssocID="{A8C15452-9D72-0D41-9E5C-39D53700AAE2}" presName="vert0" presStyleCnt="0">
        <dgm:presLayoutVars>
          <dgm:dir/>
          <dgm:animOne val="branch"/>
          <dgm:animLvl val="lvl"/>
        </dgm:presLayoutVars>
      </dgm:prSet>
      <dgm:spPr/>
    </dgm:pt>
    <dgm:pt modelId="{4DB2D1C1-2436-8944-BCC6-8DC73388778A}" type="pres">
      <dgm:prSet presAssocID="{2FBD890C-FEEC-DA48-94EB-4C63EC7527A9}" presName="thickLine" presStyleLbl="alignNode1" presStyleIdx="0" presStyleCnt="3"/>
      <dgm:spPr/>
    </dgm:pt>
    <dgm:pt modelId="{53124DD4-C7B5-0C4B-A990-6BC59E809888}" type="pres">
      <dgm:prSet presAssocID="{2FBD890C-FEEC-DA48-94EB-4C63EC7527A9}" presName="horz1" presStyleCnt="0"/>
      <dgm:spPr/>
    </dgm:pt>
    <dgm:pt modelId="{E00D6D88-3770-AD45-AA74-BD9CEE96D2AC}" type="pres">
      <dgm:prSet presAssocID="{2FBD890C-FEEC-DA48-94EB-4C63EC7527A9}" presName="tx1" presStyleLbl="revTx" presStyleIdx="0" presStyleCnt="3"/>
      <dgm:spPr/>
    </dgm:pt>
    <dgm:pt modelId="{8763A814-27CA-5C49-B5AA-66D8CB20389C}" type="pres">
      <dgm:prSet presAssocID="{2FBD890C-FEEC-DA48-94EB-4C63EC7527A9}" presName="vert1" presStyleCnt="0"/>
      <dgm:spPr/>
    </dgm:pt>
    <dgm:pt modelId="{5BA504BD-4B63-7E48-A450-0537DA355482}" type="pres">
      <dgm:prSet presAssocID="{38048078-C102-E342-BB09-B68726A294DE}" presName="thickLine" presStyleLbl="alignNode1" presStyleIdx="1" presStyleCnt="3"/>
      <dgm:spPr/>
    </dgm:pt>
    <dgm:pt modelId="{B4D44A6E-B610-DF44-BF57-E0F46AFD5B4C}" type="pres">
      <dgm:prSet presAssocID="{38048078-C102-E342-BB09-B68726A294DE}" presName="horz1" presStyleCnt="0"/>
      <dgm:spPr/>
    </dgm:pt>
    <dgm:pt modelId="{B584F614-8267-2343-B53C-1F60D089972E}" type="pres">
      <dgm:prSet presAssocID="{38048078-C102-E342-BB09-B68726A294DE}" presName="tx1" presStyleLbl="revTx" presStyleIdx="1" presStyleCnt="3"/>
      <dgm:spPr/>
    </dgm:pt>
    <dgm:pt modelId="{E2BD2023-B5FF-E242-996E-447081B32EFC}" type="pres">
      <dgm:prSet presAssocID="{38048078-C102-E342-BB09-B68726A294DE}" presName="vert1" presStyleCnt="0"/>
      <dgm:spPr/>
    </dgm:pt>
    <dgm:pt modelId="{288F30C0-365B-A643-8229-CA1B2E9C3F8C}" type="pres">
      <dgm:prSet presAssocID="{228D7A0E-BCB3-2E49-B832-8F902EB71860}" presName="thickLine" presStyleLbl="alignNode1" presStyleIdx="2" presStyleCnt="3"/>
      <dgm:spPr/>
    </dgm:pt>
    <dgm:pt modelId="{4752D6B0-7800-7447-9E37-0A15B2B08138}" type="pres">
      <dgm:prSet presAssocID="{228D7A0E-BCB3-2E49-B832-8F902EB71860}" presName="horz1" presStyleCnt="0"/>
      <dgm:spPr/>
    </dgm:pt>
    <dgm:pt modelId="{564154EA-5E04-FF4D-BA35-97D27EB3B683}" type="pres">
      <dgm:prSet presAssocID="{228D7A0E-BCB3-2E49-B832-8F902EB71860}" presName="tx1" presStyleLbl="revTx" presStyleIdx="2" presStyleCnt="3"/>
      <dgm:spPr/>
    </dgm:pt>
    <dgm:pt modelId="{8C49ED4A-51F2-AA40-9BB5-FEEC1D84CFBC}" type="pres">
      <dgm:prSet presAssocID="{228D7A0E-BCB3-2E49-B832-8F902EB71860}" presName="vert1" presStyleCnt="0"/>
      <dgm:spPr/>
    </dgm:pt>
  </dgm:ptLst>
  <dgm:cxnLst>
    <dgm:cxn modelId="{7F258A1A-464F-B646-8267-DD667923CBB6}" type="presOf" srcId="{228D7A0E-BCB3-2E49-B832-8F902EB71860}" destId="{564154EA-5E04-FF4D-BA35-97D27EB3B683}" srcOrd="0" destOrd="0" presId="urn:microsoft.com/office/officeart/2008/layout/LinedList"/>
    <dgm:cxn modelId="{316B3342-617F-4840-A6E2-344F98AA8859}" type="presOf" srcId="{2FBD890C-FEEC-DA48-94EB-4C63EC7527A9}" destId="{E00D6D88-3770-AD45-AA74-BD9CEE96D2AC}" srcOrd="0" destOrd="0" presId="urn:microsoft.com/office/officeart/2008/layout/LinedList"/>
    <dgm:cxn modelId="{D93C6179-21F9-1249-A543-700358B3C0F1}" srcId="{A8C15452-9D72-0D41-9E5C-39D53700AAE2}" destId="{228D7A0E-BCB3-2E49-B832-8F902EB71860}" srcOrd="2" destOrd="0" parTransId="{40E55C86-3655-8E4D-904A-06A6BC6F0AD7}" sibTransId="{B0B5BA2C-8E8E-4247-B445-7EB0F679917B}"/>
    <dgm:cxn modelId="{9F03FD7F-78A9-7C4D-A413-2911887DD44F}" srcId="{A8C15452-9D72-0D41-9E5C-39D53700AAE2}" destId="{38048078-C102-E342-BB09-B68726A294DE}" srcOrd="1" destOrd="0" parTransId="{995E7642-B73D-1948-8F9B-D2B2D141A5EA}" sibTransId="{9CCF0181-3E54-1648-A209-83CCC903A698}"/>
    <dgm:cxn modelId="{9D9D52E4-4BDC-4D4B-9CED-60D8022329AC}" type="presOf" srcId="{A8C15452-9D72-0D41-9E5C-39D53700AAE2}" destId="{5403E945-F43F-A746-90AF-A4415189A9DF}" srcOrd="0" destOrd="0" presId="urn:microsoft.com/office/officeart/2008/layout/LinedList"/>
    <dgm:cxn modelId="{5B92D4E8-CC21-114D-B4F5-9A8BF065C0A0}" srcId="{A8C15452-9D72-0D41-9E5C-39D53700AAE2}" destId="{2FBD890C-FEEC-DA48-94EB-4C63EC7527A9}" srcOrd="0" destOrd="0" parTransId="{0C5B54F3-2CAB-BF4D-921C-B2CAE49A4B0C}" sibTransId="{9CF13A2F-7742-B54B-80B3-B4036CC834E4}"/>
    <dgm:cxn modelId="{B732DEEE-A4E6-054F-A026-822661F3E857}" type="presOf" srcId="{38048078-C102-E342-BB09-B68726A294DE}" destId="{B584F614-8267-2343-B53C-1F60D089972E}" srcOrd="0" destOrd="0" presId="urn:microsoft.com/office/officeart/2008/layout/LinedList"/>
    <dgm:cxn modelId="{EC20522F-4ECA-724E-A458-8803C6777575}" type="presParOf" srcId="{5403E945-F43F-A746-90AF-A4415189A9DF}" destId="{4DB2D1C1-2436-8944-BCC6-8DC73388778A}" srcOrd="0" destOrd="0" presId="urn:microsoft.com/office/officeart/2008/layout/LinedList"/>
    <dgm:cxn modelId="{87C369B7-1A02-1A40-92E0-D12B1ED21838}" type="presParOf" srcId="{5403E945-F43F-A746-90AF-A4415189A9DF}" destId="{53124DD4-C7B5-0C4B-A990-6BC59E809888}" srcOrd="1" destOrd="0" presId="urn:microsoft.com/office/officeart/2008/layout/LinedList"/>
    <dgm:cxn modelId="{56968646-DA7F-D84C-B605-1263DA7B8DD2}" type="presParOf" srcId="{53124DD4-C7B5-0C4B-A990-6BC59E809888}" destId="{E00D6D88-3770-AD45-AA74-BD9CEE96D2AC}" srcOrd="0" destOrd="0" presId="urn:microsoft.com/office/officeart/2008/layout/LinedList"/>
    <dgm:cxn modelId="{EFB8F083-4446-644E-B72A-D79D1AD00AED}" type="presParOf" srcId="{53124DD4-C7B5-0C4B-A990-6BC59E809888}" destId="{8763A814-27CA-5C49-B5AA-66D8CB20389C}" srcOrd="1" destOrd="0" presId="urn:microsoft.com/office/officeart/2008/layout/LinedList"/>
    <dgm:cxn modelId="{472B7F64-0CAC-7C42-80C3-115ED433A035}" type="presParOf" srcId="{5403E945-F43F-A746-90AF-A4415189A9DF}" destId="{5BA504BD-4B63-7E48-A450-0537DA355482}" srcOrd="2" destOrd="0" presId="urn:microsoft.com/office/officeart/2008/layout/LinedList"/>
    <dgm:cxn modelId="{6A0C2CFA-39C2-9D48-B581-C37B3F914FD2}" type="presParOf" srcId="{5403E945-F43F-A746-90AF-A4415189A9DF}" destId="{B4D44A6E-B610-DF44-BF57-E0F46AFD5B4C}" srcOrd="3" destOrd="0" presId="urn:microsoft.com/office/officeart/2008/layout/LinedList"/>
    <dgm:cxn modelId="{8D6D3CB0-A2F8-4348-868E-B15B43EDFAA3}" type="presParOf" srcId="{B4D44A6E-B610-DF44-BF57-E0F46AFD5B4C}" destId="{B584F614-8267-2343-B53C-1F60D089972E}" srcOrd="0" destOrd="0" presId="urn:microsoft.com/office/officeart/2008/layout/LinedList"/>
    <dgm:cxn modelId="{47212DC7-9C97-CF46-B36D-1ABC6A46FD3A}" type="presParOf" srcId="{B4D44A6E-B610-DF44-BF57-E0F46AFD5B4C}" destId="{E2BD2023-B5FF-E242-996E-447081B32EFC}" srcOrd="1" destOrd="0" presId="urn:microsoft.com/office/officeart/2008/layout/LinedList"/>
    <dgm:cxn modelId="{E4FE79B6-BFBC-FF4F-B518-CB2C3EE82E47}" type="presParOf" srcId="{5403E945-F43F-A746-90AF-A4415189A9DF}" destId="{288F30C0-365B-A643-8229-CA1B2E9C3F8C}" srcOrd="4" destOrd="0" presId="urn:microsoft.com/office/officeart/2008/layout/LinedList"/>
    <dgm:cxn modelId="{B6FC0F3C-27EC-D240-8B4A-2452BAC24378}" type="presParOf" srcId="{5403E945-F43F-A746-90AF-A4415189A9DF}" destId="{4752D6B0-7800-7447-9E37-0A15B2B08138}" srcOrd="5" destOrd="0" presId="urn:microsoft.com/office/officeart/2008/layout/LinedList"/>
    <dgm:cxn modelId="{D6DDEDD3-2BC1-CB48-BB78-23BF228D9812}" type="presParOf" srcId="{4752D6B0-7800-7447-9E37-0A15B2B08138}" destId="{564154EA-5E04-FF4D-BA35-97D27EB3B683}" srcOrd="0" destOrd="0" presId="urn:microsoft.com/office/officeart/2008/layout/LinedList"/>
    <dgm:cxn modelId="{11C886AE-6D01-7543-8648-E622D4DD0B4D}" type="presParOf" srcId="{4752D6B0-7800-7447-9E37-0A15B2B08138}" destId="{8C49ED4A-51F2-AA40-9BB5-FEEC1D84CFB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55D35C7-B66B-462F-B4BF-0D4F5A049716}" type="doc">
      <dgm:prSet loTypeId="urn:microsoft.com/office/officeart/2005/8/layout/lProcess1" loCatId="icon" qsTypeId="urn:microsoft.com/office/officeart/2005/8/quickstyle/simple1" qsCatId="simple" csTypeId="urn:microsoft.com/office/officeart/2005/8/colors/accent1_2" csCatId="accent1" phldr="1"/>
      <dgm:spPr/>
      <dgm:t>
        <a:bodyPr/>
        <a:lstStyle/>
        <a:p>
          <a:endParaRPr lang="en-US"/>
        </a:p>
      </dgm:t>
    </dgm:pt>
    <dgm:pt modelId="{E458BC95-ADED-4D1B-B7E0-0A7A38C888D7}">
      <dgm:prSet custT="1"/>
      <dgm:spPr/>
      <dgm:t>
        <a:bodyPr/>
        <a:lstStyle/>
        <a:p>
          <a:r>
            <a:rPr lang="en-US" sz="1050" b="0" i="0" dirty="0"/>
            <a:t>The Sustainability Consortium </a:t>
          </a:r>
          <a:endParaRPr lang="en-US" sz="1050" dirty="0"/>
        </a:p>
      </dgm:t>
    </dgm:pt>
    <dgm:pt modelId="{7D848294-110D-4883-AD68-D674D886567A}" type="parTrans" cxnId="{616F1426-2DB3-4223-9D94-269747A118F2}">
      <dgm:prSet/>
      <dgm:spPr/>
      <dgm:t>
        <a:bodyPr/>
        <a:lstStyle/>
        <a:p>
          <a:endParaRPr lang="en-US"/>
        </a:p>
      </dgm:t>
    </dgm:pt>
    <dgm:pt modelId="{A95C5EDD-9143-42C4-8D15-252AC318B34E}" type="sibTrans" cxnId="{616F1426-2DB3-4223-9D94-269747A118F2}">
      <dgm:prSet/>
      <dgm:spPr/>
      <dgm:t>
        <a:bodyPr/>
        <a:lstStyle/>
        <a:p>
          <a:endParaRPr lang="en-US"/>
        </a:p>
      </dgm:t>
    </dgm:pt>
    <dgm:pt modelId="{42465AAD-B97E-47BC-9E9A-7A29C40C093D}">
      <dgm:prSet custT="1"/>
      <dgm:spPr/>
      <dgm:t>
        <a:bodyPr/>
        <a:lstStyle/>
        <a:p>
          <a:r>
            <a:rPr lang="en-US" sz="1050" b="0" i="0" dirty="0"/>
            <a:t>UL Environment </a:t>
          </a:r>
          <a:endParaRPr lang="en-US" sz="1050" dirty="0"/>
        </a:p>
      </dgm:t>
    </dgm:pt>
    <dgm:pt modelId="{2387BE70-9D30-4809-8797-8D6C602A090E}" type="parTrans" cxnId="{C4656AEF-0E49-4919-B779-C20BAE3324D2}">
      <dgm:prSet/>
      <dgm:spPr/>
      <dgm:t>
        <a:bodyPr/>
        <a:lstStyle/>
        <a:p>
          <a:endParaRPr lang="en-US"/>
        </a:p>
      </dgm:t>
    </dgm:pt>
    <dgm:pt modelId="{343959BD-8F88-4F18-A2C0-309437713515}" type="sibTrans" cxnId="{C4656AEF-0E49-4919-B779-C20BAE3324D2}">
      <dgm:prSet/>
      <dgm:spPr/>
      <dgm:t>
        <a:bodyPr/>
        <a:lstStyle/>
        <a:p>
          <a:endParaRPr lang="en-US"/>
        </a:p>
      </dgm:t>
    </dgm:pt>
    <dgm:pt modelId="{EDFB868F-4C0A-4B1F-90CE-E1C376A7FABB}">
      <dgm:prSet custT="1"/>
      <dgm:spPr/>
      <dgm:t>
        <a:bodyPr/>
        <a:lstStyle/>
        <a:p>
          <a:r>
            <a:rPr lang="en-US" sz="1050" b="0" i="0" dirty="0"/>
            <a:t>ASTM International</a:t>
          </a:r>
          <a:endParaRPr lang="en-US" sz="1050" dirty="0"/>
        </a:p>
      </dgm:t>
    </dgm:pt>
    <dgm:pt modelId="{1CF9CD60-17F4-4E2A-BE65-3BD1D9A989C4}" type="parTrans" cxnId="{E26FA17C-5BA3-49F9-A17D-B3331A871FB1}">
      <dgm:prSet/>
      <dgm:spPr/>
      <dgm:t>
        <a:bodyPr/>
        <a:lstStyle/>
        <a:p>
          <a:endParaRPr lang="en-US"/>
        </a:p>
      </dgm:t>
    </dgm:pt>
    <dgm:pt modelId="{6E311CA0-C551-45D1-9B8C-2FCF57F75A69}" type="sibTrans" cxnId="{E26FA17C-5BA3-49F9-A17D-B3331A871FB1}">
      <dgm:prSet/>
      <dgm:spPr/>
      <dgm:t>
        <a:bodyPr/>
        <a:lstStyle/>
        <a:p>
          <a:endParaRPr lang="en-US"/>
        </a:p>
      </dgm:t>
    </dgm:pt>
    <dgm:pt modelId="{8F894D34-97F3-4DFF-8946-396876ECEAA4}">
      <dgm:prSet custT="1"/>
      <dgm:spPr/>
      <dgm:t>
        <a:bodyPr/>
        <a:lstStyle/>
        <a:p>
          <a:r>
            <a:rPr lang="en-US" sz="1050" b="0" i="0" dirty="0"/>
            <a:t>Carbon Leadership Forum </a:t>
          </a:r>
          <a:endParaRPr lang="en-US" sz="1050" dirty="0"/>
        </a:p>
      </dgm:t>
    </dgm:pt>
    <dgm:pt modelId="{B9A98C21-C69B-4A1C-A899-B5974F454DE9}" type="parTrans" cxnId="{B7E0FA2E-E62D-48CE-96C5-4912348BCAA4}">
      <dgm:prSet/>
      <dgm:spPr/>
      <dgm:t>
        <a:bodyPr/>
        <a:lstStyle/>
        <a:p>
          <a:endParaRPr lang="en-US"/>
        </a:p>
      </dgm:t>
    </dgm:pt>
    <dgm:pt modelId="{8960C0F5-31DC-4B4D-8F20-2B2BB5C37D2D}" type="sibTrans" cxnId="{B7E0FA2E-E62D-48CE-96C5-4912348BCAA4}">
      <dgm:prSet/>
      <dgm:spPr/>
      <dgm:t>
        <a:bodyPr/>
        <a:lstStyle/>
        <a:p>
          <a:endParaRPr lang="en-US"/>
        </a:p>
      </dgm:t>
    </dgm:pt>
    <dgm:pt modelId="{85D7C9FF-DF6D-44DB-8123-6BCCBB7AE3D3}">
      <dgm:prSet custT="1"/>
      <dgm:spPr/>
      <dgm:t>
        <a:bodyPr/>
        <a:lstStyle/>
        <a:p>
          <a:r>
            <a:rPr lang="en-US" sz="1050" b="0" i="0" dirty="0"/>
            <a:t>ICC Evaluation Services </a:t>
          </a:r>
          <a:endParaRPr lang="en-US" sz="1050" dirty="0"/>
        </a:p>
      </dgm:t>
    </dgm:pt>
    <dgm:pt modelId="{6AFB4619-A05E-4739-BDB3-BBB3E0CDD3A4}" type="parTrans" cxnId="{467B620E-533C-406F-BBFF-627F8AF30ABD}">
      <dgm:prSet/>
      <dgm:spPr/>
      <dgm:t>
        <a:bodyPr/>
        <a:lstStyle/>
        <a:p>
          <a:endParaRPr lang="en-US"/>
        </a:p>
      </dgm:t>
    </dgm:pt>
    <dgm:pt modelId="{2ED60991-26EB-4FEB-86AF-8ABE99CB7B82}" type="sibTrans" cxnId="{467B620E-533C-406F-BBFF-627F8AF30ABD}">
      <dgm:prSet/>
      <dgm:spPr/>
      <dgm:t>
        <a:bodyPr/>
        <a:lstStyle/>
        <a:p>
          <a:endParaRPr lang="en-US"/>
        </a:p>
      </dgm:t>
    </dgm:pt>
    <dgm:pt modelId="{A4480681-11B8-6C4A-89D5-DD81FA69DA71}">
      <dgm:prSet custT="1"/>
      <dgm:spPr/>
      <dgm:t>
        <a:bodyPr/>
        <a:lstStyle/>
        <a:p>
          <a:r>
            <a:rPr lang="en-US" sz="1050" dirty="0"/>
            <a:t>3</a:t>
          </a:r>
          <a:r>
            <a:rPr lang="en-US" sz="1050" baseline="30000" dirty="0"/>
            <a:t>rd</a:t>
          </a:r>
          <a:r>
            <a:rPr lang="en-US" sz="1050" dirty="0"/>
            <a:t> Party Provider</a:t>
          </a:r>
        </a:p>
      </dgm:t>
    </dgm:pt>
    <dgm:pt modelId="{6CDFE680-68CA-C54D-9B92-05F045378F7D}" type="sibTrans" cxnId="{1AD73B79-2B9A-DD44-A51C-1305D2E450EB}">
      <dgm:prSet/>
      <dgm:spPr/>
      <dgm:t>
        <a:bodyPr/>
        <a:lstStyle/>
        <a:p>
          <a:endParaRPr lang="en-US"/>
        </a:p>
      </dgm:t>
    </dgm:pt>
    <dgm:pt modelId="{91C5D786-8A23-564C-B6DD-682C0D662C41}" type="parTrans" cxnId="{1AD73B79-2B9A-DD44-A51C-1305D2E450EB}">
      <dgm:prSet/>
      <dgm:spPr/>
      <dgm:t>
        <a:bodyPr/>
        <a:lstStyle/>
        <a:p>
          <a:endParaRPr lang="en-US"/>
        </a:p>
      </dgm:t>
    </dgm:pt>
    <dgm:pt modelId="{BE29F1BF-837C-4217-A0C9-E929256B07FB}">
      <dgm:prSet custT="1"/>
      <dgm:spPr/>
      <dgm:t>
        <a:bodyPr/>
        <a:lstStyle/>
        <a:p>
          <a:r>
            <a:rPr lang="en-US" sz="1050" b="0" i="0" dirty="0"/>
            <a:t>NSF International </a:t>
          </a:r>
          <a:endParaRPr lang="en-US" sz="1050" dirty="0"/>
        </a:p>
      </dgm:t>
    </dgm:pt>
    <dgm:pt modelId="{CCDD42FE-A315-4455-BADF-556B4D789F83}" type="sibTrans" cxnId="{19B5A93E-B2AC-4DC6-8694-4AB2BE90F3EB}">
      <dgm:prSet/>
      <dgm:spPr/>
      <dgm:t>
        <a:bodyPr/>
        <a:lstStyle/>
        <a:p>
          <a:endParaRPr lang="en-US"/>
        </a:p>
      </dgm:t>
    </dgm:pt>
    <dgm:pt modelId="{425189CC-3CA3-4341-9C5D-A5BAFBF3BD5C}" type="parTrans" cxnId="{19B5A93E-B2AC-4DC6-8694-4AB2BE90F3EB}">
      <dgm:prSet/>
      <dgm:spPr/>
      <dgm:t>
        <a:bodyPr/>
        <a:lstStyle/>
        <a:p>
          <a:endParaRPr lang="en-US"/>
        </a:p>
      </dgm:t>
    </dgm:pt>
    <dgm:pt modelId="{9A12983E-4C36-BE49-9973-B395E4636F92}" type="pres">
      <dgm:prSet presAssocID="{755D35C7-B66B-462F-B4BF-0D4F5A049716}" presName="Name0" presStyleCnt="0">
        <dgm:presLayoutVars>
          <dgm:dir/>
          <dgm:animLvl val="lvl"/>
          <dgm:resizeHandles val="exact"/>
        </dgm:presLayoutVars>
      </dgm:prSet>
      <dgm:spPr/>
    </dgm:pt>
    <dgm:pt modelId="{0A8C29ED-14FA-F844-9AC4-C7CB5EE016B9}" type="pres">
      <dgm:prSet presAssocID="{A4480681-11B8-6C4A-89D5-DD81FA69DA71}" presName="vertFlow" presStyleCnt="0"/>
      <dgm:spPr/>
    </dgm:pt>
    <dgm:pt modelId="{4A82FA47-D36B-EC47-A0EB-4EEBA52A926B}" type="pres">
      <dgm:prSet presAssocID="{A4480681-11B8-6C4A-89D5-DD81FA69DA71}" presName="header" presStyleLbl="node1" presStyleIdx="0" presStyleCnt="1" custLinFactNeighborX="-1747" custLinFactNeighborY="4227"/>
      <dgm:spPr/>
    </dgm:pt>
    <dgm:pt modelId="{46320D3F-3BFE-FF42-98C2-3879CD7D8FEF}" type="pres">
      <dgm:prSet presAssocID="{425189CC-3CA3-4341-9C5D-A5BAFBF3BD5C}" presName="parTrans" presStyleLbl="sibTrans2D1" presStyleIdx="0" presStyleCnt="6"/>
      <dgm:spPr/>
    </dgm:pt>
    <dgm:pt modelId="{E406F155-E166-5349-B51F-E3D5E7C4B56C}" type="pres">
      <dgm:prSet presAssocID="{BE29F1BF-837C-4217-A0C9-E929256B07FB}" presName="child" presStyleLbl="alignAccFollowNode1" presStyleIdx="0" presStyleCnt="6">
        <dgm:presLayoutVars>
          <dgm:chMax val="0"/>
          <dgm:bulletEnabled val="1"/>
        </dgm:presLayoutVars>
      </dgm:prSet>
      <dgm:spPr/>
    </dgm:pt>
    <dgm:pt modelId="{7532B81F-2D5E-9247-AE35-380BCDA875F5}" type="pres">
      <dgm:prSet presAssocID="{CCDD42FE-A315-4455-BADF-556B4D789F83}" presName="sibTrans" presStyleLbl="sibTrans2D1" presStyleIdx="1" presStyleCnt="6"/>
      <dgm:spPr/>
    </dgm:pt>
    <dgm:pt modelId="{05F6D497-C3E1-6042-937B-E63C05851CBB}" type="pres">
      <dgm:prSet presAssocID="{E458BC95-ADED-4D1B-B7E0-0A7A38C888D7}" presName="child" presStyleLbl="alignAccFollowNode1" presStyleIdx="1" presStyleCnt="6">
        <dgm:presLayoutVars>
          <dgm:chMax val="0"/>
          <dgm:bulletEnabled val="1"/>
        </dgm:presLayoutVars>
      </dgm:prSet>
      <dgm:spPr/>
    </dgm:pt>
    <dgm:pt modelId="{F41B34B0-595F-8049-AD91-EA3B36A29227}" type="pres">
      <dgm:prSet presAssocID="{A95C5EDD-9143-42C4-8D15-252AC318B34E}" presName="sibTrans" presStyleLbl="sibTrans2D1" presStyleIdx="2" presStyleCnt="6"/>
      <dgm:spPr/>
    </dgm:pt>
    <dgm:pt modelId="{8AEC3E8D-E734-2948-90F5-2952E2F0991E}" type="pres">
      <dgm:prSet presAssocID="{42465AAD-B97E-47BC-9E9A-7A29C40C093D}" presName="child" presStyleLbl="alignAccFollowNode1" presStyleIdx="2" presStyleCnt="6">
        <dgm:presLayoutVars>
          <dgm:chMax val="0"/>
          <dgm:bulletEnabled val="1"/>
        </dgm:presLayoutVars>
      </dgm:prSet>
      <dgm:spPr/>
    </dgm:pt>
    <dgm:pt modelId="{D7334019-C9A2-5F4D-B355-F07AB877F728}" type="pres">
      <dgm:prSet presAssocID="{343959BD-8F88-4F18-A2C0-309437713515}" presName="sibTrans" presStyleLbl="sibTrans2D1" presStyleIdx="3" presStyleCnt="6"/>
      <dgm:spPr/>
    </dgm:pt>
    <dgm:pt modelId="{86D054DD-E2CD-0440-9337-62F99315F537}" type="pres">
      <dgm:prSet presAssocID="{EDFB868F-4C0A-4B1F-90CE-E1C376A7FABB}" presName="child" presStyleLbl="alignAccFollowNode1" presStyleIdx="3" presStyleCnt="6">
        <dgm:presLayoutVars>
          <dgm:chMax val="0"/>
          <dgm:bulletEnabled val="1"/>
        </dgm:presLayoutVars>
      </dgm:prSet>
      <dgm:spPr/>
    </dgm:pt>
    <dgm:pt modelId="{85FBC2AE-7EDD-8444-851A-F0EB90345941}" type="pres">
      <dgm:prSet presAssocID="{6E311CA0-C551-45D1-9B8C-2FCF57F75A69}" presName="sibTrans" presStyleLbl="sibTrans2D1" presStyleIdx="4" presStyleCnt="6"/>
      <dgm:spPr/>
    </dgm:pt>
    <dgm:pt modelId="{6351A09A-BB41-5548-BD9D-5AA63B2BC5BC}" type="pres">
      <dgm:prSet presAssocID="{8F894D34-97F3-4DFF-8946-396876ECEAA4}" presName="child" presStyleLbl="alignAccFollowNode1" presStyleIdx="4" presStyleCnt="6">
        <dgm:presLayoutVars>
          <dgm:chMax val="0"/>
          <dgm:bulletEnabled val="1"/>
        </dgm:presLayoutVars>
      </dgm:prSet>
      <dgm:spPr/>
    </dgm:pt>
    <dgm:pt modelId="{037B7655-ABED-2643-A74D-2C325924F2F2}" type="pres">
      <dgm:prSet presAssocID="{8960C0F5-31DC-4B4D-8F20-2B2BB5C37D2D}" presName="sibTrans" presStyleLbl="sibTrans2D1" presStyleIdx="5" presStyleCnt="6"/>
      <dgm:spPr/>
    </dgm:pt>
    <dgm:pt modelId="{031556AC-E95A-4641-8F3C-3FF7C5EF320D}" type="pres">
      <dgm:prSet presAssocID="{85D7C9FF-DF6D-44DB-8123-6BCCBB7AE3D3}" presName="child" presStyleLbl="alignAccFollowNode1" presStyleIdx="5" presStyleCnt="6">
        <dgm:presLayoutVars>
          <dgm:chMax val="0"/>
          <dgm:bulletEnabled val="1"/>
        </dgm:presLayoutVars>
      </dgm:prSet>
      <dgm:spPr/>
    </dgm:pt>
  </dgm:ptLst>
  <dgm:cxnLst>
    <dgm:cxn modelId="{467B620E-533C-406F-BBFF-627F8AF30ABD}" srcId="{A4480681-11B8-6C4A-89D5-DD81FA69DA71}" destId="{85D7C9FF-DF6D-44DB-8123-6BCCBB7AE3D3}" srcOrd="5" destOrd="0" parTransId="{6AFB4619-A05E-4739-BDB3-BBB3E0CDD3A4}" sibTransId="{2ED60991-26EB-4FEB-86AF-8ABE99CB7B82}"/>
    <dgm:cxn modelId="{C9AA5A13-20C3-7B45-8232-3BBF65E0BFC7}" type="presOf" srcId="{755D35C7-B66B-462F-B4BF-0D4F5A049716}" destId="{9A12983E-4C36-BE49-9973-B395E4636F92}" srcOrd="0" destOrd="0" presId="urn:microsoft.com/office/officeart/2005/8/layout/lProcess1"/>
    <dgm:cxn modelId="{11A8DA13-98B8-9746-8BF5-E3239A709A34}" type="presOf" srcId="{8F894D34-97F3-4DFF-8946-396876ECEAA4}" destId="{6351A09A-BB41-5548-BD9D-5AA63B2BC5BC}" srcOrd="0" destOrd="0" presId="urn:microsoft.com/office/officeart/2005/8/layout/lProcess1"/>
    <dgm:cxn modelId="{616F1426-2DB3-4223-9D94-269747A118F2}" srcId="{A4480681-11B8-6C4A-89D5-DD81FA69DA71}" destId="{E458BC95-ADED-4D1B-B7E0-0A7A38C888D7}" srcOrd="1" destOrd="0" parTransId="{7D848294-110D-4883-AD68-D674D886567A}" sibTransId="{A95C5EDD-9143-42C4-8D15-252AC318B34E}"/>
    <dgm:cxn modelId="{9885682D-1080-C048-8172-D49EE4DC0864}" type="presOf" srcId="{E458BC95-ADED-4D1B-B7E0-0A7A38C888D7}" destId="{05F6D497-C3E1-6042-937B-E63C05851CBB}" srcOrd="0" destOrd="0" presId="urn:microsoft.com/office/officeart/2005/8/layout/lProcess1"/>
    <dgm:cxn modelId="{B7E0FA2E-E62D-48CE-96C5-4912348BCAA4}" srcId="{A4480681-11B8-6C4A-89D5-DD81FA69DA71}" destId="{8F894D34-97F3-4DFF-8946-396876ECEAA4}" srcOrd="4" destOrd="0" parTransId="{B9A98C21-C69B-4A1C-A899-B5974F454DE9}" sibTransId="{8960C0F5-31DC-4B4D-8F20-2B2BB5C37D2D}"/>
    <dgm:cxn modelId="{05B44533-955A-C34D-B50C-CE887137321B}" type="presOf" srcId="{85D7C9FF-DF6D-44DB-8123-6BCCBB7AE3D3}" destId="{031556AC-E95A-4641-8F3C-3FF7C5EF320D}" srcOrd="0" destOrd="0" presId="urn:microsoft.com/office/officeart/2005/8/layout/lProcess1"/>
    <dgm:cxn modelId="{19B5A93E-B2AC-4DC6-8694-4AB2BE90F3EB}" srcId="{A4480681-11B8-6C4A-89D5-DD81FA69DA71}" destId="{BE29F1BF-837C-4217-A0C9-E929256B07FB}" srcOrd="0" destOrd="0" parTransId="{425189CC-3CA3-4341-9C5D-A5BAFBF3BD5C}" sibTransId="{CCDD42FE-A315-4455-BADF-556B4D789F83}"/>
    <dgm:cxn modelId="{50060944-6A74-A64C-86D5-1366D2AD37F4}" type="presOf" srcId="{6E311CA0-C551-45D1-9B8C-2FCF57F75A69}" destId="{85FBC2AE-7EDD-8444-851A-F0EB90345941}" srcOrd="0" destOrd="0" presId="urn:microsoft.com/office/officeart/2005/8/layout/lProcess1"/>
    <dgm:cxn modelId="{A0A1AC51-F9E4-9443-9492-5FAAFE96D5BA}" type="presOf" srcId="{CCDD42FE-A315-4455-BADF-556B4D789F83}" destId="{7532B81F-2D5E-9247-AE35-380BCDA875F5}" srcOrd="0" destOrd="0" presId="urn:microsoft.com/office/officeart/2005/8/layout/lProcess1"/>
    <dgm:cxn modelId="{D84FF066-AF92-2347-9FB2-0017BF524BAD}" type="presOf" srcId="{EDFB868F-4C0A-4B1F-90CE-E1C376A7FABB}" destId="{86D054DD-E2CD-0440-9337-62F99315F537}" srcOrd="0" destOrd="0" presId="urn:microsoft.com/office/officeart/2005/8/layout/lProcess1"/>
    <dgm:cxn modelId="{1AD73B79-2B9A-DD44-A51C-1305D2E450EB}" srcId="{755D35C7-B66B-462F-B4BF-0D4F5A049716}" destId="{A4480681-11B8-6C4A-89D5-DD81FA69DA71}" srcOrd="0" destOrd="0" parTransId="{91C5D786-8A23-564C-B6DD-682C0D662C41}" sibTransId="{6CDFE680-68CA-C54D-9B92-05F045378F7D}"/>
    <dgm:cxn modelId="{E26FA17C-5BA3-49F9-A17D-B3331A871FB1}" srcId="{A4480681-11B8-6C4A-89D5-DD81FA69DA71}" destId="{EDFB868F-4C0A-4B1F-90CE-E1C376A7FABB}" srcOrd="3" destOrd="0" parTransId="{1CF9CD60-17F4-4E2A-BE65-3BD1D9A989C4}" sibTransId="{6E311CA0-C551-45D1-9B8C-2FCF57F75A69}"/>
    <dgm:cxn modelId="{F2C50287-A2B0-9F42-8454-FFFDAED2B04C}" type="presOf" srcId="{A4480681-11B8-6C4A-89D5-DD81FA69DA71}" destId="{4A82FA47-D36B-EC47-A0EB-4EEBA52A926B}" srcOrd="0" destOrd="0" presId="urn:microsoft.com/office/officeart/2005/8/layout/lProcess1"/>
    <dgm:cxn modelId="{8A3BC0A8-50AE-9047-B6B1-AC9689F7E74B}" type="presOf" srcId="{425189CC-3CA3-4341-9C5D-A5BAFBF3BD5C}" destId="{46320D3F-3BFE-FF42-98C2-3879CD7D8FEF}" srcOrd="0" destOrd="0" presId="urn:microsoft.com/office/officeart/2005/8/layout/lProcess1"/>
    <dgm:cxn modelId="{54DAF3A9-263B-BD4C-AE05-189F58FAC3A0}" type="presOf" srcId="{42465AAD-B97E-47BC-9E9A-7A29C40C093D}" destId="{8AEC3E8D-E734-2948-90F5-2952E2F0991E}" srcOrd="0" destOrd="0" presId="urn:microsoft.com/office/officeart/2005/8/layout/lProcess1"/>
    <dgm:cxn modelId="{DAD546B7-DC5C-E347-A56B-D289EA5BCCB4}" type="presOf" srcId="{8960C0F5-31DC-4B4D-8F20-2B2BB5C37D2D}" destId="{037B7655-ABED-2643-A74D-2C325924F2F2}" srcOrd="0" destOrd="0" presId="urn:microsoft.com/office/officeart/2005/8/layout/lProcess1"/>
    <dgm:cxn modelId="{8D96F8C9-B6A1-1C41-8BAA-D55CADCBEC67}" type="presOf" srcId="{A95C5EDD-9143-42C4-8D15-252AC318B34E}" destId="{F41B34B0-595F-8049-AD91-EA3B36A29227}" srcOrd="0" destOrd="0" presId="urn:microsoft.com/office/officeart/2005/8/layout/lProcess1"/>
    <dgm:cxn modelId="{C4656AEF-0E49-4919-B779-C20BAE3324D2}" srcId="{A4480681-11B8-6C4A-89D5-DD81FA69DA71}" destId="{42465AAD-B97E-47BC-9E9A-7A29C40C093D}" srcOrd="2" destOrd="0" parTransId="{2387BE70-9D30-4809-8797-8D6C602A090E}" sibTransId="{343959BD-8F88-4F18-A2C0-309437713515}"/>
    <dgm:cxn modelId="{7994E4F3-C491-7F45-AB7E-B146B419B086}" type="presOf" srcId="{343959BD-8F88-4F18-A2C0-309437713515}" destId="{D7334019-C9A2-5F4D-B355-F07AB877F728}" srcOrd="0" destOrd="0" presId="urn:microsoft.com/office/officeart/2005/8/layout/lProcess1"/>
    <dgm:cxn modelId="{8C6BEEF3-58F9-0446-B73D-A8BEB7D0ADCB}" type="presOf" srcId="{BE29F1BF-837C-4217-A0C9-E929256B07FB}" destId="{E406F155-E166-5349-B51F-E3D5E7C4B56C}" srcOrd="0" destOrd="0" presId="urn:microsoft.com/office/officeart/2005/8/layout/lProcess1"/>
    <dgm:cxn modelId="{DF18BD36-4DA3-E648-A9E5-25B05F99DAFF}" type="presParOf" srcId="{9A12983E-4C36-BE49-9973-B395E4636F92}" destId="{0A8C29ED-14FA-F844-9AC4-C7CB5EE016B9}" srcOrd="0" destOrd="0" presId="urn:microsoft.com/office/officeart/2005/8/layout/lProcess1"/>
    <dgm:cxn modelId="{A4B44BDF-56DF-9B4B-B3E5-120A12DFB959}" type="presParOf" srcId="{0A8C29ED-14FA-F844-9AC4-C7CB5EE016B9}" destId="{4A82FA47-D36B-EC47-A0EB-4EEBA52A926B}" srcOrd="0" destOrd="0" presId="urn:microsoft.com/office/officeart/2005/8/layout/lProcess1"/>
    <dgm:cxn modelId="{2746A101-B9FA-DD4B-B670-73D7EEB60738}" type="presParOf" srcId="{0A8C29ED-14FA-F844-9AC4-C7CB5EE016B9}" destId="{46320D3F-3BFE-FF42-98C2-3879CD7D8FEF}" srcOrd="1" destOrd="0" presId="urn:microsoft.com/office/officeart/2005/8/layout/lProcess1"/>
    <dgm:cxn modelId="{9353D3B4-E683-E246-9B8B-C050343516E4}" type="presParOf" srcId="{0A8C29ED-14FA-F844-9AC4-C7CB5EE016B9}" destId="{E406F155-E166-5349-B51F-E3D5E7C4B56C}" srcOrd="2" destOrd="0" presId="urn:microsoft.com/office/officeart/2005/8/layout/lProcess1"/>
    <dgm:cxn modelId="{2A6FCABF-28B9-4C49-AB33-B17A3F055BA4}" type="presParOf" srcId="{0A8C29ED-14FA-F844-9AC4-C7CB5EE016B9}" destId="{7532B81F-2D5E-9247-AE35-380BCDA875F5}" srcOrd="3" destOrd="0" presId="urn:microsoft.com/office/officeart/2005/8/layout/lProcess1"/>
    <dgm:cxn modelId="{A174C612-FF4D-C94C-B732-44AA54854299}" type="presParOf" srcId="{0A8C29ED-14FA-F844-9AC4-C7CB5EE016B9}" destId="{05F6D497-C3E1-6042-937B-E63C05851CBB}" srcOrd="4" destOrd="0" presId="urn:microsoft.com/office/officeart/2005/8/layout/lProcess1"/>
    <dgm:cxn modelId="{51B2D5FD-C3D0-404D-9902-6385D52047C8}" type="presParOf" srcId="{0A8C29ED-14FA-F844-9AC4-C7CB5EE016B9}" destId="{F41B34B0-595F-8049-AD91-EA3B36A29227}" srcOrd="5" destOrd="0" presId="urn:microsoft.com/office/officeart/2005/8/layout/lProcess1"/>
    <dgm:cxn modelId="{DD57AF7C-26A0-B243-A62D-311F8ECCCEDB}" type="presParOf" srcId="{0A8C29ED-14FA-F844-9AC4-C7CB5EE016B9}" destId="{8AEC3E8D-E734-2948-90F5-2952E2F0991E}" srcOrd="6" destOrd="0" presId="urn:microsoft.com/office/officeart/2005/8/layout/lProcess1"/>
    <dgm:cxn modelId="{65516C1D-BEC9-A84C-B516-58F602DF74B0}" type="presParOf" srcId="{0A8C29ED-14FA-F844-9AC4-C7CB5EE016B9}" destId="{D7334019-C9A2-5F4D-B355-F07AB877F728}" srcOrd="7" destOrd="0" presId="urn:microsoft.com/office/officeart/2005/8/layout/lProcess1"/>
    <dgm:cxn modelId="{D76238C5-F6D7-7D41-B52B-85C510569D6E}" type="presParOf" srcId="{0A8C29ED-14FA-F844-9AC4-C7CB5EE016B9}" destId="{86D054DD-E2CD-0440-9337-62F99315F537}" srcOrd="8" destOrd="0" presId="urn:microsoft.com/office/officeart/2005/8/layout/lProcess1"/>
    <dgm:cxn modelId="{A5A320D8-FA18-B245-81B7-24104E21B9F0}" type="presParOf" srcId="{0A8C29ED-14FA-F844-9AC4-C7CB5EE016B9}" destId="{85FBC2AE-7EDD-8444-851A-F0EB90345941}" srcOrd="9" destOrd="0" presId="urn:microsoft.com/office/officeart/2005/8/layout/lProcess1"/>
    <dgm:cxn modelId="{8382411C-628A-2149-A959-9ACB6C89187B}" type="presParOf" srcId="{0A8C29ED-14FA-F844-9AC4-C7CB5EE016B9}" destId="{6351A09A-BB41-5548-BD9D-5AA63B2BC5BC}" srcOrd="10" destOrd="0" presId="urn:microsoft.com/office/officeart/2005/8/layout/lProcess1"/>
    <dgm:cxn modelId="{D84FFC80-2032-B845-A3C5-8F9C7AF41D20}" type="presParOf" srcId="{0A8C29ED-14FA-F844-9AC4-C7CB5EE016B9}" destId="{037B7655-ABED-2643-A74D-2C325924F2F2}" srcOrd="11" destOrd="0" presId="urn:microsoft.com/office/officeart/2005/8/layout/lProcess1"/>
    <dgm:cxn modelId="{BD6D3CBD-8067-644C-BC5D-27BE78E0557C}" type="presParOf" srcId="{0A8C29ED-14FA-F844-9AC4-C7CB5EE016B9}" destId="{031556AC-E95A-4641-8F3C-3FF7C5EF320D}" srcOrd="12" destOrd="0" presId="urn:microsoft.com/office/officeart/2005/8/layout/lProcess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204D1F8-87A0-464E-B897-D76A104817B6}"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070ADBD-86DB-4843-8867-A293C467A825}">
      <dgm:prSet/>
      <dgm:spPr/>
      <dgm:t>
        <a:bodyPr/>
        <a:lstStyle/>
        <a:p>
          <a:pPr>
            <a:lnSpc>
              <a:spcPct val="100000"/>
            </a:lnSpc>
          </a:pPr>
          <a:r>
            <a:rPr lang="en-US" b="1" dirty="0">
              <a:solidFill>
                <a:schemeClr val="accent1"/>
              </a:solidFill>
            </a:rPr>
            <a:t>Verify Sustainability Claims</a:t>
          </a:r>
        </a:p>
      </dgm:t>
    </dgm:pt>
    <dgm:pt modelId="{92796FDA-A838-4914-90C8-55D3E0BBE588}" type="parTrans" cxnId="{078E327D-3555-46CE-87A9-4508395E9BC6}">
      <dgm:prSet/>
      <dgm:spPr/>
      <dgm:t>
        <a:bodyPr/>
        <a:lstStyle/>
        <a:p>
          <a:endParaRPr lang="en-US"/>
        </a:p>
      </dgm:t>
    </dgm:pt>
    <dgm:pt modelId="{9489D4C6-2B32-42DC-9E48-0F3376A6615E}" type="sibTrans" cxnId="{078E327D-3555-46CE-87A9-4508395E9BC6}">
      <dgm:prSet/>
      <dgm:spPr/>
      <dgm:t>
        <a:bodyPr/>
        <a:lstStyle/>
        <a:p>
          <a:endParaRPr lang="en-US"/>
        </a:p>
      </dgm:t>
    </dgm:pt>
    <dgm:pt modelId="{56929A6A-73CC-441E-A24B-3011ACBFE596}">
      <dgm:prSet/>
      <dgm:spPr/>
      <dgm:t>
        <a:bodyPr/>
        <a:lstStyle/>
        <a:p>
          <a:pPr>
            <a:lnSpc>
              <a:spcPct val="100000"/>
            </a:lnSpc>
          </a:pPr>
          <a:r>
            <a:rPr lang="en-US" b="1" dirty="0">
              <a:solidFill>
                <a:schemeClr val="accent1"/>
              </a:solidFill>
            </a:rPr>
            <a:t>Required by LEED</a:t>
          </a:r>
          <a:r>
            <a:rPr lang="en-US" b="1" baseline="30000" dirty="0">
              <a:solidFill>
                <a:schemeClr val="accent1"/>
              </a:solidFill>
            </a:rPr>
            <a:t>® </a:t>
          </a:r>
          <a:r>
            <a:rPr lang="en-US" b="1" dirty="0">
              <a:solidFill>
                <a:schemeClr val="accent1"/>
              </a:solidFill>
            </a:rPr>
            <a:t>, BREEAM</a:t>
          </a:r>
          <a:r>
            <a:rPr lang="en-US" b="1" baseline="30000" dirty="0">
              <a:solidFill>
                <a:schemeClr val="accent1"/>
              </a:solidFill>
            </a:rPr>
            <a:t>®</a:t>
          </a:r>
          <a:r>
            <a:rPr lang="en-US" b="1" dirty="0">
              <a:solidFill>
                <a:schemeClr val="accent1"/>
              </a:solidFill>
            </a:rPr>
            <a:t>, GreenStar</a:t>
          </a:r>
          <a:r>
            <a:rPr lang="en-US" b="1" baseline="30000" dirty="0">
              <a:solidFill>
                <a:schemeClr val="accent1"/>
              </a:solidFill>
            </a:rPr>
            <a:t>®</a:t>
          </a:r>
          <a:r>
            <a:rPr lang="en-US" b="1" baseline="-25000" dirty="0">
              <a:solidFill>
                <a:schemeClr val="accent1"/>
              </a:solidFill>
            </a:rPr>
            <a:t>, </a:t>
          </a:r>
          <a:r>
            <a:rPr lang="en-US" b="1" baseline="0" dirty="0">
              <a:solidFill>
                <a:schemeClr val="accent1"/>
              </a:solidFill>
            </a:rPr>
            <a:t>National Green Building Standard and more</a:t>
          </a:r>
          <a:endParaRPr lang="en-US" b="1" baseline="-25000" dirty="0">
            <a:solidFill>
              <a:schemeClr val="accent1"/>
            </a:solidFill>
          </a:endParaRPr>
        </a:p>
      </dgm:t>
    </dgm:pt>
    <dgm:pt modelId="{BD529C91-02F4-400C-A6EC-185BBA4D23A7}" type="parTrans" cxnId="{2537E902-666B-43DC-B7C9-E2726B3708D5}">
      <dgm:prSet/>
      <dgm:spPr/>
      <dgm:t>
        <a:bodyPr/>
        <a:lstStyle/>
        <a:p>
          <a:endParaRPr lang="en-US"/>
        </a:p>
      </dgm:t>
    </dgm:pt>
    <dgm:pt modelId="{B12259D5-9C2F-49B9-8AED-82969BCCE9E8}" type="sibTrans" cxnId="{2537E902-666B-43DC-B7C9-E2726B3708D5}">
      <dgm:prSet/>
      <dgm:spPr/>
      <dgm:t>
        <a:bodyPr/>
        <a:lstStyle/>
        <a:p>
          <a:endParaRPr lang="en-US"/>
        </a:p>
      </dgm:t>
    </dgm:pt>
    <dgm:pt modelId="{D29498CE-3A2E-4FF6-AAA4-D9B00E65D870}">
      <dgm:prSet/>
      <dgm:spPr/>
      <dgm:t>
        <a:bodyPr/>
        <a:lstStyle/>
        <a:p>
          <a:pPr>
            <a:lnSpc>
              <a:spcPct val="100000"/>
            </a:lnSpc>
          </a:pPr>
          <a:r>
            <a:rPr lang="en-US" b="1" dirty="0">
              <a:solidFill>
                <a:schemeClr val="accent1"/>
              </a:solidFill>
            </a:rPr>
            <a:t>Required by Many States, Municipalities i.e., CA, NYS, City of Portland</a:t>
          </a:r>
        </a:p>
      </dgm:t>
    </dgm:pt>
    <dgm:pt modelId="{9F277A6A-F075-468D-B1E5-D61104C2CA39}" type="parTrans" cxnId="{B51DAC1D-E812-47A3-8F95-615C4E0E2213}">
      <dgm:prSet/>
      <dgm:spPr/>
      <dgm:t>
        <a:bodyPr/>
        <a:lstStyle/>
        <a:p>
          <a:endParaRPr lang="en-US"/>
        </a:p>
      </dgm:t>
    </dgm:pt>
    <dgm:pt modelId="{F662A840-46A0-49C9-B85A-324EB1D86EF3}" type="sibTrans" cxnId="{B51DAC1D-E812-47A3-8F95-615C4E0E2213}">
      <dgm:prSet/>
      <dgm:spPr/>
      <dgm:t>
        <a:bodyPr/>
        <a:lstStyle/>
        <a:p>
          <a:endParaRPr lang="en-US"/>
        </a:p>
      </dgm:t>
    </dgm:pt>
    <dgm:pt modelId="{9C5DD857-73DF-49A1-9189-8A4BC2B81ADC}" type="pres">
      <dgm:prSet presAssocID="{3204D1F8-87A0-464E-B897-D76A104817B6}" presName="root" presStyleCnt="0">
        <dgm:presLayoutVars>
          <dgm:dir/>
          <dgm:resizeHandles val="exact"/>
        </dgm:presLayoutVars>
      </dgm:prSet>
      <dgm:spPr/>
    </dgm:pt>
    <dgm:pt modelId="{E9BAF650-2F08-4AA2-8E9F-8E24181AF4C3}" type="pres">
      <dgm:prSet presAssocID="{2070ADBD-86DB-4843-8867-A293C467A825}" presName="compNode" presStyleCnt="0"/>
      <dgm:spPr/>
    </dgm:pt>
    <dgm:pt modelId="{DC4E2ECA-9A0A-4114-B7FD-A2E10990C557}" type="pres">
      <dgm:prSet presAssocID="{2070ADBD-86DB-4843-8867-A293C467A825}" presName="bgRect" presStyleLbl="bgShp" presStyleIdx="0" presStyleCnt="3" custLinFactNeighborX="-1097" custLinFactNeighborY="-13518"/>
      <dgm:spPr/>
    </dgm:pt>
    <dgm:pt modelId="{781E4A6B-5E27-4322-8405-1DFDC359EBED}" type="pres">
      <dgm:prSet presAssocID="{2070ADBD-86DB-4843-8867-A293C467A825}"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C4621FC2-1B6B-417D-9244-08BEA8B8C685}" type="pres">
      <dgm:prSet presAssocID="{2070ADBD-86DB-4843-8867-A293C467A825}" presName="spaceRect" presStyleCnt="0"/>
      <dgm:spPr/>
    </dgm:pt>
    <dgm:pt modelId="{A53ED514-554F-4388-B526-5F9463A56372}" type="pres">
      <dgm:prSet presAssocID="{2070ADBD-86DB-4843-8867-A293C467A825}" presName="parTx" presStyleLbl="revTx" presStyleIdx="0" presStyleCnt="3">
        <dgm:presLayoutVars>
          <dgm:chMax val="0"/>
          <dgm:chPref val="0"/>
        </dgm:presLayoutVars>
      </dgm:prSet>
      <dgm:spPr/>
    </dgm:pt>
    <dgm:pt modelId="{76FCBB10-D27C-40AD-BCF6-A9962505E6F8}" type="pres">
      <dgm:prSet presAssocID="{9489D4C6-2B32-42DC-9E48-0F3376A6615E}" presName="sibTrans" presStyleCnt="0"/>
      <dgm:spPr/>
    </dgm:pt>
    <dgm:pt modelId="{9F64832A-58CD-4D5D-A485-213786FCCEC0}" type="pres">
      <dgm:prSet presAssocID="{56929A6A-73CC-441E-A24B-3011ACBFE596}" presName="compNode" presStyleCnt="0"/>
      <dgm:spPr/>
    </dgm:pt>
    <dgm:pt modelId="{1A5EA11C-6336-4D3D-97FF-B020A0815782}" type="pres">
      <dgm:prSet presAssocID="{56929A6A-73CC-441E-A24B-3011ACBFE596}" presName="bgRect" presStyleLbl="bgShp" presStyleIdx="1" presStyleCnt="3"/>
      <dgm:spPr/>
    </dgm:pt>
    <dgm:pt modelId="{8D61F9F1-3430-4962-A87D-89DDB4ECF890}" type="pres">
      <dgm:prSet presAssocID="{56929A6A-73CC-441E-A24B-3011ACBFE596}"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lipboard Checked with solid fill"/>
        </a:ext>
      </dgm:extLst>
    </dgm:pt>
    <dgm:pt modelId="{556AC0D2-6F25-4D49-A1BE-DDFB627D8455}" type="pres">
      <dgm:prSet presAssocID="{56929A6A-73CC-441E-A24B-3011ACBFE596}" presName="spaceRect" presStyleCnt="0"/>
      <dgm:spPr/>
    </dgm:pt>
    <dgm:pt modelId="{AEDC02F7-73A8-4D4D-A4C5-F81FC39DB0D6}" type="pres">
      <dgm:prSet presAssocID="{56929A6A-73CC-441E-A24B-3011ACBFE596}" presName="parTx" presStyleLbl="revTx" presStyleIdx="1" presStyleCnt="3">
        <dgm:presLayoutVars>
          <dgm:chMax val="0"/>
          <dgm:chPref val="0"/>
        </dgm:presLayoutVars>
      </dgm:prSet>
      <dgm:spPr/>
    </dgm:pt>
    <dgm:pt modelId="{380F1FF9-6F6A-45AD-930A-FE0D3B7A55A9}" type="pres">
      <dgm:prSet presAssocID="{B12259D5-9C2F-49B9-8AED-82969BCCE9E8}" presName="sibTrans" presStyleCnt="0"/>
      <dgm:spPr/>
    </dgm:pt>
    <dgm:pt modelId="{B2AF2B4A-5482-47CB-9217-049358AD0A5D}" type="pres">
      <dgm:prSet presAssocID="{D29498CE-3A2E-4FF6-AAA4-D9B00E65D870}" presName="compNode" presStyleCnt="0"/>
      <dgm:spPr/>
    </dgm:pt>
    <dgm:pt modelId="{D4D53E28-013D-411A-94B5-1275936E575C}" type="pres">
      <dgm:prSet presAssocID="{D29498CE-3A2E-4FF6-AAA4-D9B00E65D870}" presName="bgRect" presStyleLbl="bgShp" presStyleIdx="2" presStyleCnt="3"/>
      <dgm:spPr/>
    </dgm:pt>
    <dgm:pt modelId="{083F91D7-0C93-419C-B8BE-6B1450D96E9F}" type="pres">
      <dgm:prSet presAssocID="{D29498CE-3A2E-4FF6-AAA4-D9B00E65D870}" presName="iconRect" presStyleLbl="node1" presStyleIdx="2" presStyleCnt="3"/>
      <dgm:spPr>
        <a:ln>
          <a:noFill/>
        </a:ln>
      </dgm:spPr>
    </dgm:pt>
    <dgm:pt modelId="{CDC0ED4E-74A1-4E1A-BAB3-C3861CB366BA}" type="pres">
      <dgm:prSet presAssocID="{D29498CE-3A2E-4FF6-AAA4-D9B00E65D870}" presName="spaceRect" presStyleCnt="0"/>
      <dgm:spPr/>
    </dgm:pt>
    <dgm:pt modelId="{4C44E8B3-56D8-458A-B03F-F3B97DB18A3C}" type="pres">
      <dgm:prSet presAssocID="{D29498CE-3A2E-4FF6-AAA4-D9B00E65D870}" presName="parTx" presStyleLbl="revTx" presStyleIdx="2" presStyleCnt="3">
        <dgm:presLayoutVars>
          <dgm:chMax val="0"/>
          <dgm:chPref val="0"/>
        </dgm:presLayoutVars>
      </dgm:prSet>
      <dgm:spPr/>
    </dgm:pt>
  </dgm:ptLst>
  <dgm:cxnLst>
    <dgm:cxn modelId="{2537E902-666B-43DC-B7C9-E2726B3708D5}" srcId="{3204D1F8-87A0-464E-B897-D76A104817B6}" destId="{56929A6A-73CC-441E-A24B-3011ACBFE596}" srcOrd="1" destOrd="0" parTransId="{BD529C91-02F4-400C-A6EC-185BBA4D23A7}" sibTransId="{B12259D5-9C2F-49B9-8AED-82969BCCE9E8}"/>
    <dgm:cxn modelId="{B51DAC1D-E812-47A3-8F95-615C4E0E2213}" srcId="{3204D1F8-87A0-464E-B897-D76A104817B6}" destId="{D29498CE-3A2E-4FF6-AAA4-D9B00E65D870}" srcOrd="2" destOrd="0" parTransId="{9F277A6A-F075-468D-B1E5-D61104C2CA39}" sibTransId="{F662A840-46A0-49C9-B85A-324EB1D86EF3}"/>
    <dgm:cxn modelId="{078E327D-3555-46CE-87A9-4508395E9BC6}" srcId="{3204D1F8-87A0-464E-B897-D76A104817B6}" destId="{2070ADBD-86DB-4843-8867-A293C467A825}" srcOrd="0" destOrd="0" parTransId="{92796FDA-A838-4914-90C8-55D3E0BBE588}" sibTransId="{9489D4C6-2B32-42DC-9E48-0F3376A6615E}"/>
    <dgm:cxn modelId="{B3BC528F-ADBD-411F-B1A8-488F5FC52AFA}" type="presOf" srcId="{3204D1F8-87A0-464E-B897-D76A104817B6}" destId="{9C5DD857-73DF-49A1-9189-8A4BC2B81ADC}" srcOrd="0" destOrd="0" presId="urn:microsoft.com/office/officeart/2018/2/layout/IconVerticalSolidList"/>
    <dgm:cxn modelId="{D509A6C1-E419-408B-8416-85A0E2B8DDC9}" type="presOf" srcId="{2070ADBD-86DB-4843-8867-A293C467A825}" destId="{A53ED514-554F-4388-B526-5F9463A56372}" srcOrd="0" destOrd="0" presId="urn:microsoft.com/office/officeart/2018/2/layout/IconVerticalSolidList"/>
    <dgm:cxn modelId="{DC5F2DEB-1811-472D-A3AC-CE1FC810A1BE}" type="presOf" srcId="{56929A6A-73CC-441E-A24B-3011ACBFE596}" destId="{AEDC02F7-73A8-4D4D-A4C5-F81FC39DB0D6}" srcOrd="0" destOrd="0" presId="urn:microsoft.com/office/officeart/2018/2/layout/IconVerticalSolidList"/>
    <dgm:cxn modelId="{95CAF8F8-3238-4235-B84B-B940378403A5}" type="presOf" srcId="{D29498CE-3A2E-4FF6-AAA4-D9B00E65D870}" destId="{4C44E8B3-56D8-458A-B03F-F3B97DB18A3C}" srcOrd="0" destOrd="0" presId="urn:microsoft.com/office/officeart/2018/2/layout/IconVerticalSolidList"/>
    <dgm:cxn modelId="{7EE92167-402C-4A21-97E1-A4EAB054E76B}" type="presParOf" srcId="{9C5DD857-73DF-49A1-9189-8A4BC2B81ADC}" destId="{E9BAF650-2F08-4AA2-8E9F-8E24181AF4C3}" srcOrd="0" destOrd="0" presId="urn:microsoft.com/office/officeart/2018/2/layout/IconVerticalSolidList"/>
    <dgm:cxn modelId="{0D22CB06-609E-41C3-A43F-65A1F250AAD7}" type="presParOf" srcId="{E9BAF650-2F08-4AA2-8E9F-8E24181AF4C3}" destId="{DC4E2ECA-9A0A-4114-B7FD-A2E10990C557}" srcOrd="0" destOrd="0" presId="urn:microsoft.com/office/officeart/2018/2/layout/IconVerticalSolidList"/>
    <dgm:cxn modelId="{5EB8B4C0-D98F-40C1-8517-A79C7F46B0D8}" type="presParOf" srcId="{E9BAF650-2F08-4AA2-8E9F-8E24181AF4C3}" destId="{781E4A6B-5E27-4322-8405-1DFDC359EBED}" srcOrd="1" destOrd="0" presId="urn:microsoft.com/office/officeart/2018/2/layout/IconVerticalSolidList"/>
    <dgm:cxn modelId="{EE1BD785-B3D9-4F35-9897-14FC7AFD65AD}" type="presParOf" srcId="{E9BAF650-2F08-4AA2-8E9F-8E24181AF4C3}" destId="{C4621FC2-1B6B-417D-9244-08BEA8B8C685}" srcOrd="2" destOrd="0" presId="urn:microsoft.com/office/officeart/2018/2/layout/IconVerticalSolidList"/>
    <dgm:cxn modelId="{43C29F7A-662A-461C-A5D6-B119CF3C1A9F}" type="presParOf" srcId="{E9BAF650-2F08-4AA2-8E9F-8E24181AF4C3}" destId="{A53ED514-554F-4388-B526-5F9463A56372}" srcOrd="3" destOrd="0" presId="urn:microsoft.com/office/officeart/2018/2/layout/IconVerticalSolidList"/>
    <dgm:cxn modelId="{E1123814-0734-49B9-BA2D-1D97DEAD5D1A}" type="presParOf" srcId="{9C5DD857-73DF-49A1-9189-8A4BC2B81ADC}" destId="{76FCBB10-D27C-40AD-BCF6-A9962505E6F8}" srcOrd="1" destOrd="0" presId="urn:microsoft.com/office/officeart/2018/2/layout/IconVerticalSolidList"/>
    <dgm:cxn modelId="{C46413FD-66D6-45B2-A8BB-2FF37EB171B7}" type="presParOf" srcId="{9C5DD857-73DF-49A1-9189-8A4BC2B81ADC}" destId="{9F64832A-58CD-4D5D-A485-213786FCCEC0}" srcOrd="2" destOrd="0" presId="urn:microsoft.com/office/officeart/2018/2/layout/IconVerticalSolidList"/>
    <dgm:cxn modelId="{76B16635-FA02-43D3-BEC5-6CCFF67D6CF3}" type="presParOf" srcId="{9F64832A-58CD-4D5D-A485-213786FCCEC0}" destId="{1A5EA11C-6336-4D3D-97FF-B020A0815782}" srcOrd="0" destOrd="0" presId="urn:microsoft.com/office/officeart/2018/2/layout/IconVerticalSolidList"/>
    <dgm:cxn modelId="{FB7E853E-1625-4AFF-BBD1-1CD36149BD15}" type="presParOf" srcId="{9F64832A-58CD-4D5D-A485-213786FCCEC0}" destId="{8D61F9F1-3430-4962-A87D-89DDB4ECF890}" srcOrd="1" destOrd="0" presId="urn:microsoft.com/office/officeart/2018/2/layout/IconVerticalSolidList"/>
    <dgm:cxn modelId="{63D689BD-866F-4CFC-AABF-583DB066716E}" type="presParOf" srcId="{9F64832A-58CD-4D5D-A485-213786FCCEC0}" destId="{556AC0D2-6F25-4D49-A1BE-DDFB627D8455}" srcOrd="2" destOrd="0" presId="urn:microsoft.com/office/officeart/2018/2/layout/IconVerticalSolidList"/>
    <dgm:cxn modelId="{4CB9A052-DF7A-4826-905D-D24C0C05FD32}" type="presParOf" srcId="{9F64832A-58CD-4D5D-A485-213786FCCEC0}" destId="{AEDC02F7-73A8-4D4D-A4C5-F81FC39DB0D6}" srcOrd="3" destOrd="0" presId="urn:microsoft.com/office/officeart/2018/2/layout/IconVerticalSolidList"/>
    <dgm:cxn modelId="{F1F4A6EC-E853-4FC4-8CAA-42DE2CAF39A7}" type="presParOf" srcId="{9C5DD857-73DF-49A1-9189-8A4BC2B81ADC}" destId="{380F1FF9-6F6A-45AD-930A-FE0D3B7A55A9}" srcOrd="3" destOrd="0" presId="urn:microsoft.com/office/officeart/2018/2/layout/IconVerticalSolidList"/>
    <dgm:cxn modelId="{ACD50060-3775-4451-8670-E2FB4A219A6A}" type="presParOf" srcId="{9C5DD857-73DF-49A1-9189-8A4BC2B81ADC}" destId="{B2AF2B4A-5482-47CB-9217-049358AD0A5D}" srcOrd="4" destOrd="0" presId="urn:microsoft.com/office/officeart/2018/2/layout/IconVerticalSolidList"/>
    <dgm:cxn modelId="{5415461C-DC4E-4D58-A210-DD4A98AB4C33}" type="presParOf" srcId="{B2AF2B4A-5482-47CB-9217-049358AD0A5D}" destId="{D4D53E28-013D-411A-94B5-1275936E575C}" srcOrd="0" destOrd="0" presId="urn:microsoft.com/office/officeart/2018/2/layout/IconVerticalSolidList"/>
    <dgm:cxn modelId="{2B674C51-5346-4572-812B-510AD0FBDDB0}" type="presParOf" srcId="{B2AF2B4A-5482-47CB-9217-049358AD0A5D}" destId="{083F91D7-0C93-419C-B8BE-6B1450D96E9F}" srcOrd="1" destOrd="0" presId="urn:microsoft.com/office/officeart/2018/2/layout/IconVerticalSolidList"/>
    <dgm:cxn modelId="{40A51899-7032-4DDD-9998-C3F4CC06AF61}" type="presParOf" srcId="{B2AF2B4A-5482-47CB-9217-049358AD0A5D}" destId="{CDC0ED4E-74A1-4E1A-BAB3-C3861CB366BA}" srcOrd="2" destOrd="0" presId="urn:microsoft.com/office/officeart/2018/2/layout/IconVerticalSolidList"/>
    <dgm:cxn modelId="{E927438B-5ADB-4C3B-B2A9-15F59B3EAFA0}" type="presParOf" srcId="{B2AF2B4A-5482-47CB-9217-049358AD0A5D}" destId="{4C44E8B3-56D8-458A-B03F-F3B97DB18A3C}"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DF1E673-2776-4F1E-A2EC-B1DDB776D21C}" type="doc">
      <dgm:prSet loTypeId="urn:microsoft.com/office/officeart/2008/layout/AscendingPictureAccentProcess" loCatId="icon" qsTypeId="urn:microsoft.com/office/officeart/2005/8/quickstyle/3d2" qsCatId="3D" csTypeId="urn:microsoft.com/office/officeart/2005/8/colors/accent2_2" csCatId="accent2" phldr="1"/>
      <dgm:spPr/>
      <dgm:t>
        <a:bodyPr/>
        <a:lstStyle/>
        <a:p>
          <a:endParaRPr lang="en-US"/>
        </a:p>
      </dgm:t>
    </dgm:pt>
    <dgm:pt modelId="{1A28799B-8E22-42C2-B653-3BEDDCAB78BA}">
      <dgm:prSet/>
      <dgm:spPr/>
      <dgm:t>
        <a:bodyPr/>
        <a:lstStyle/>
        <a:p>
          <a:r>
            <a:rPr lang="en-US" b="0" i="0" u="sng" dirty="0">
              <a:hlinkClick xmlns:r="http://schemas.openxmlformats.org/officeDocument/2006/relationships" r:id="rId1">
                <a:extLst>
                  <a:ext uri="{A12FA001-AC4F-418D-AE19-62706E023703}">
                    <ahyp:hlinkClr xmlns:ahyp="http://schemas.microsoft.com/office/drawing/2018/hyperlinkcolor" val="tx"/>
                  </a:ext>
                </a:extLst>
              </a:hlinkClick>
            </a:rPr>
            <a:t>IRA 2022/ EPA Programs</a:t>
          </a:r>
          <a:r>
            <a:rPr lang="en-US" b="0" i="0" dirty="0"/>
            <a:t> </a:t>
          </a:r>
          <a:endParaRPr lang="en-US" dirty="0"/>
        </a:p>
      </dgm:t>
    </dgm:pt>
    <dgm:pt modelId="{9794DF7F-DB4D-4ABD-A5EB-8C36ECC08F72}" type="parTrans" cxnId="{B91EA9C3-91C5-4DB2-A60C-E52A7164B5DF}">
      <dgm:prSet/>
      <dgm:spPr/>
      <dgm:t>
        <a:bodyPr/>
        <a:lstStyle/>
        <a:p>
          <a:endParaRPr lang="en-US"/>
        </a:p>
      </dgm:t>
    </dgm:pt>
    <dgm:pt modelId="{2F0A0CDB-6B24-4341-BF75-B494970EB2D7}" type="sibTrans" cxnId="{B91EA9C3-91C5-4DB2-A60C-E52A7164B5DF}">
      <dgm:prSet/>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dgm:spPr>
      <dgm:t>
        <a:bodyPr/>
        <a:lstStyle/>
        <a:p>
          <a:endParaRPr lang="en-US"/>
        </a:p>
      </dgm:t>
      <dgm:extLst>
        <a:ext uri="{E40237B7-FDA0-4F09-8148-C483321AD2D9}">
          <dgm14:cNvPr xmlns:dgm14="http://schemas.microsoft.com/office/drawing/2010/diagram" id="0" name="" descr="Business Growth"/>
        </a:ext>
      </dgm:extLst>
    </dgm:pt>
    <dgm:pt modelId="{A03DA39D-C1A1-964B-9645-A2371BCAAAD4}">
      <dgm:prSet/>
      <dgm:spPr/>
      <dgm:t>
        <a:bodyPr/>
        <a:lstStyle/>
        <a:p>
          <a:r>
            <a:rPr lang="en-US" b="0" i="0" dirty="0"/>
            <a:t>Increases EPD reporting </a:t>
          </a:r>
          <a:endParaRPr lang="en-US" dirty="0"/>
        </a:p>
      </dgm:t>
    </dgm:pt>
    <dgm:pt modelId="{1B35C694-94CB-084F-BD91-05FEF8BAD0C1}" type="parTrans" cxnId="{7534F2FD-56B2-0D4C-89F3-FC0B2C295CE3}">
      <dgm:prSet/>
      <dgm:spPr/>
      <dgm:t>
        <a:bodyPr/>
        <a:lstStyle/>
        <a:p>
          <a:endParaRPr lang="en-US"/>
        </a:p>
      </dgm:t>
    </dgm:pt>
    <dgm:pt modelId="{11ED13B9-D503-024C-8B45-6F09C669DF8B}" type="sibTrans" cxnId="{7534F2FD-56B2-0D4C-89F3-FC0B2C295CE3}">
      <dgm:prSet/>
      <dgm:spPr/>
      <dgm:t>
        <a:bodyPr/>
        <a:lstStyle/>
        <a:p>
          <a:endParaRPr lang="en-US"/>
        </a:p>
      </dgm:t>
    </dgm:pt>
    <dgm:pt modelId="{4CF89F6D-DE94-AA43-A3BE-3F6315CAAABE}">
      <dgm:prSet/>
      <dgm:spPr/>
      <dgm:t>
        <a:bodyPr/>
        <a:lstStyle/>
        <a:p>
          <a:r>
            <a:rPr lang="en-US" b="0" i="0"/>
            <a:t>Develop policies </a:t>
          </a:r>
          <a:r>
            <a:rPr lang="en-US" b="0" i="0" dirty="0"/>
            <a:t>to promote low-carbon, made-in-America materials in Fed. Projects</a:t>
          </a:r>
          <a:endParaRPr lang="en-US" dirty="0">
            <a:highlight>
              <a:srgbClr val="FFFF00"/>
            </a:highlight>
          </a:endParaRPr>
        </a:p>
      </dgm:t>
    </dgm:pt>
    <dgm:pt modelId="{077442E5-444F-AD4F-BBE9-1CC7D1E8A1CB}" type="parTrans" cxnId="{3E74D851-F952-9547-A2E1-499D8B5929A6}">
      <dgm:prSet/>
      <dgm:spPr/>
      <dgm:t>
        <a:bodyPr/>
        <a:lstStyle/>
        <a:p>
          <a:endParaRPr lang="en-US"/>
        </a:p>
      </dgm:t>
    </dgm:pt>
    <dgm:pt modelId="{F582A034-4994-5D4D-ABB6-034E478C90FB}" type="sibTrans" cxnId="{3E74D851-F952-9547-A2E1-499D8B5929A6}">
      <dgm:prSet/>
      <dgm:spPr/>
      <dgm:t>
        <a:bodyPr/>
        <a:lstStyle/>
        <a:p>
          <a:endParaRPr lang="en-US"/>
        </a:p>
      </dgm:t>
    </dgm:pt>
    <dgm:pt modelId="{F7DFE36A-A116-1E43-916F-511AE9C65D1E}">
      <dgm:prSet/>
      <dgm:spPr/>
      <dgm:t>
        <a:bodyPr/>
        <a:lstStyle/>
        <a:p>
          <a:r>
            <a:rPr lang="en-US" b="0" i="0" dirty="0">
              <a:hlinkClick xmlns:r="http://schemas.openxmlformats.org/officeDocument/2006/relationships" r:id="rId4">
                <a:extLst>
                  <a:ext uri="{A12FA001-AC4F-418D-AE19-62706E023703}">
                    <ahyp:hlinkClr xmlns:ahyp="http://schemas.microsoft.com/office/drawing/2018/hyperlinkcolor" val="tx"/>
                  </a:ext>
                </a:extLst>
              </a:hlinkClick>
            </a:rPr>
            <a:t>Buy Clean Initiative</a:t>
          </a:r>
          <a:endParaRPr lang="en-US" dirty="0"/>
        </a:p>
      </dgm:t>
    </dgm:pt>
    <dgm:pt modelId="{83A2CE06-6E23-4F43-A146-80514EBAEAAB}" type="sibTrans" cxnId="{293BCE79-AABD-1C45-924C-20CD5A21138F}">
      <dgm:prSet/>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t>
        <a:bodyPr/>
        <a:lstStyle/>
        <a:p>
          <a:endParaRPr lang="en-US"/>
        </a:p>
      </dgm:t>
      <dgm:extLst>
        <a:ext uri="{E40237B7-FDA0-4F09-8148-C483321AD2D9}">
          <dgm14:cNvPr xmlns:dgm14="http://schemas.microsoft.com/office/drawing/2010/diagram" id="0" name="" descr="Deciduous tree"/>
        </a:ext>
      </dgm:extLst>
    </dgm:pt>
    <dgm:pt modelId="{56BD7585-8A1B-7C4E-9FFE-42B683CB257F}" type="parTrans" cxnId="{293BCE79-AABD-1C45-924C-20CD5A21138F}">
      <dgm:prSet/>
      <dgm:spPr/>
      <dgm:t>
        <a:bodyPr/>
        <a:lstStyle/>
        <a:p>
          <a:endParaRPr lang="en-US"/>
        </a:p>
      </dgm:t>
    </dgm:pt>
    <dgm:pt modelId="{6A04FB35-179D-46CE-B4D9-3FDB38A5B01F}">
      <dgm:prSet/>
      <dgm:spPr/>
      <dgm:t>
        <a:bodyPr/>
        <a:lstStyle/>
        <a:p>
          <a:r>
            <a:rPr lang="en-US" b="0" i="0" dirty="0"/>
            <a:t>Grants for standardization/certification for carbon efficiency.</a:t>
          </a:r>
          <a:endParaRPr lang="en-US" dirty="0"/>
        </a:p>
      </dgm:t>
    </dgm:pt>
    <dgm:pt modelId="{60F47013-5EFD-41F9-A807-FBD319828FEF}" type="sibTrans" cxnId="{A495983F-E2D8-4ABE-88D9-3C13D77579B0}">
      <dgm:prSet/>
      <dgm:spPr/>
      <dgm:t>
        <a:bodyPr/>
        <a:lstStyle/>
        <a:p>
          <a:endParaRPr lang="en-US"/>
        </a:p>
      </dgm:t>
    </dgm:pt>
    <dgm:pt modelId="{CDF84568-2A0A-4E8E-A769-1CD7D8C26A7B}" type="parTrans" cxnId="{A495983F-E2D8-4ABE-88D9-3C13D77579B0}">
      <dgm:prSet/>
      <dgm:spPr/>
      <dgm:t>
        <a:bodyPr/>
        <a:lstStyle/>
        <a:p>
          <a:endParaRPr lang="en-US"/>
        </a:p>
      </dgm:t>
    </dgm:pt>
    <dgm:pt modelId="{EE7938EA-1798-EC40-B9DC-8210F08D94EF}">
      <dgm:prSet/>
      <dgm:spPr/>
      <dgm:t>
        <a:bodyPr/>
        <a:lstStyle/>
        <a:p>
          <a:r>
            <a:rPr lang="en-US" dirty="0"/>
            <a:t>U.S. General Services Administration</a:t>
          </a:r>
        </a:p>
      </dgm:t>
    </dgm:pt>
    <dgm:pt modelId="{B53AE491-E281-E146-B022-F1F93B75E0C5}" type="parTrans" cxnId="{E35F15B6-5C10-6E46-BF97-257E67F12245}">
      <dgm:prSet/>
      <dgm:spPr/>
      <dgm:t>
        <a:bodyPr/>
        <a:lstStyle/>
        <a:p>
          <a:endParaRPr lang="en-US"/>
        </a:p>
      </dgm:t>
    </dgm:pt>
    <dgm:pt modelId="{71056557-7B62-034B-8721-45B095775CCF}" type="sibTrans" cxnId="{E35F15B6-5C10-6E46-BF97-257E67F12245}">
      <dgm:prSet/>
      <dgm:spPr>
        <a:blipFill>
          <a:blip xmlns:r="http://schemas.openxmlformats.org/officeDocument/2006/relationships" r:embed="rId7"/>
          <a:srcRect/>
          <a:stretch>
            <a:fillRect l="-39000" r="-39000"/>
          </a:stretch>
        </a:blipFill>
      </dgm:spPr>
      <dgm:t>
        <a:bodyPr/>
        <a:lstStyle/>
        <a:p>
          <a:endParaRPr lang="en-US"/>
        </a:p>
      </dgm:t>
    </dgm:pt>
    <dgm:pt modelId="{6A5665C4-875B-3A44-AAEB-BF9762A27300}">
      <dgm:prSet/>
      <dgm:spPr/>
      <dgm:t>
        <a:bodyPr/>
        <a:lstStyle/>
        <a:p>
          <a:r>
            <a:rPr lang="en-US" dirty="0"/>
            <a:t>Interim IRA Low Embodied Carbon Material Requirements May 16, 2023</a:t>
          </a:r>
        </a:p>
      </dgm:t>
    </dgm:pt>
    <dgm:pt modelId="{127A594A-F724-4C4A-993C-0A50ABFD87B9}" type="parTrans" cxnId="{ABBF7DB9-01E9-EF43-8ED3-B424C0E2E983}">
      <dgm:prSet/>
      <dgm:spPr/>
      <dgm:t>
        <a:bodyPr/>
        <a:lstStyle/>
        <a:p>
          <a:endParaRPr lang="en-US"/>
        </a:p>
      </dgm:t>
    </dgm:pt>
    <dgm:pt modelId="{FC0E8139-9A4C-A44F-857E-F07CA19C9CFB}" type="sibTrans" cxnId="{ABBF7DB9-01E9-EF43-8ED3-B424C0E2E983}">
      <dgm:prSet/>
      <dgm:spPr/>
      <dgm:t>
        <a:bodyPr/>
        <a:lstStyle/>
        <a:p>
          <a:endParaRPr lang="en-US"/>
        </a:p>
      </dgm:t>
    </dgm:pt>
    <dgm:pt modelId="{E4499575-7659-B84E-92DC-58A633E21C2F}">
      <dgm:prSet/>
      <dgm:spPr/>
      <dgm:t>
        <a:bodyPr/>
        <a:lstStyle/>
        <a:p>
          <a:r>
            <a:rPr lang="en-US" dirty="0"/>
            <a:t>The largest investment in climate &amp; energy in US History</a:t>
          </a:r>
        </a:p>
      </dgm:t>
    </dgm:pt>
    <dgm:pt modelId="{66934E56-0FBD-4C43-BB97-AFB69C86B6BE}" type="parTrans" cxnId="{DFB8AE9C-B057-C446-90CE-85FA46B44EB0}">
      <dgm:prSet/>
      <dgm:spPr/>
      <dgm:t>
        <a:bodyPr/>
        <a:lstStyle/>
        <a:p>
          <a:endParaRPr lang="en-US"/>
        </a:p>
      </dgm:t>
    </dgm:pt>
    <dgm:pt modelId="{7B70F4DE-934C-DE48-A6D9-3E60E86FE806}" type="sibTrans" cxnId="{DFB8AE9C-B057-C446-90CE-85FA46B44EB0}">
      <dgm:prSet/>
      <dgm:spPr/>
      <dgm:t>
        <a:bodyPr/>
        <a:lstStyle/>
        <a:p>
          <a:endParaRPr lang="en-US"/>
        </a:p>
      </dgm:t>
    </dgm:pt>
    <dgm:pt modelId="{91F6D4CB-F540-8C4B-82F7-C5DE2CBFE1FB}" type="pres">
      <dgm:prSet presAssocID="{9DF1E673-2776-4F1E-A2EC-B1DDB776D21C}" presName="Name0" presStyleCnt="0">
        <dgm:presLayoutVars>
          <dgm:chMax val="7"/>
          <dgm:chPref val="7"/>
          <dgm:dir/>
        </dgm:presLayoutVars>
      </dgm:prSet>
      <dgm:spPr/>
    </dgm:pt>
    <dgm:pt modelId="{E0717D3E-A5FF-E54C-887E-7214EA0B445E}" type="pres">
      <dgm:prSet presAssocID="{9DF1E673-2776-4F1E-A2EC-B1DDB776D21C}" presName="dot1" presStyleLbl="alignNode1" presStyleIdx="0" presStyleCnt="12"/>
      <dgm:spPr/>
    </dgm:pt>
    <dgm:pt modelId="{EB9999DE-F04A-4747-9BDE-BDBD04B8CDDD}" type="pres">
      <dgm:prSet presAssocID="{9DF1E673-2776-4F1E-A2EC-B1DDB776D21C}" presName="dot2" presStyleLbl="alignNode1" presStyleIdx="1" presStyleCnt="12"/>
      <dgm:spPr/>
    </dgm:pt>
    <dgm:pt modelId="{84133DDE-DDFD-044D-9644-8FC9B259D45B}" type="pres">
      <dgm:prSet presAssocID="{9DF1E673-2776-4F1E-A2EC-B1DDB776D21C}" presName="dot3" presStyleLbl="alignNode1" presStyleIdx="2" presStyleCnt="12"/>
      <dgm:spPr/>
    </dgm:pt>
    <dgm:pt modelId="{6E63D8F1-89D7-1743-85D2-0D473C2535C2}" type="pres">
      <dgm:prSet presAssocID="{9DF1E673-2776-4F1E-A2EC-B1DDB776D21C}" presName="dot4" presStyleLbl="alignNode1" presStyleIdx="3" presStyleCnt="12"/>
      <dgm:spPr/>
    </dgm:pt>
    <dgm:pt modelId="{0396E3A7-7952-C64F-A17F-F1B65AF796E1}" type="pres">
      <dgm:prSet presAssocID="{9DF1E673-2776-4F1E-A2EC-B1DDB776D21C}" presName="dot5" presStyleLbl="alignNode1" presStyleIdx="4" presStyleCnt="12"/>
      <dgm:spPr/>
    </dgm:pt>
    <dgm:pt modelId="{FDDF24EF-9FE8-8D45-BA58-F574210DDC17}" type="pres">
      <dgm:prSet presAssocID="{9DF1E673-2776-4F1E-A2EC-B1DDB776D21C}" presName="dotArrow1" presStyleLbl="alignNode1" presStyleIdx="5" presStyleCnt="12"/>
      <dgm:spPr/>
    </dgm:pt>
    <dgm:pt modelId="{A1F07B3C-502D-804C-9AC9-A6EFDA9EBA67}" type="pres">
      <dgm:prSet presAssocID="{9DF1E673-2776-4F1E-A2EC-B1DDB776D21C}" presName="dotArrow2" presStyleLbl="alignNode1" presStyleIdx="6" presStyleCnt="12"/>
      <dgm:spPr/>
    </dgm:pt>
    <dgm:pt modelId="{F45B92D2-6884-904F-B945-AB7DF0B26EA0}" type="pres">
      <dgm:prSet presAssocID="{9DF1E673-2776-4F1E-A2EC-B1DDB776D21C}" presName="dotArrow3" presStyleLbl="alignNode1" presStyleIdx="7" presStyleCnt="12"/>
      <dgm:spPr/>
    </dgm:pt>
    <dgm:pt modelId="{3F5DD063-3BCE-0746-809E-97110E24C5BE}" type="pres">
      <dgm:prSet presAssocID="{9DF1E673-2776-4F1E-A2EC-B1DDB776D21C}" presName="dotArrow4" presStyleLbl="alignNode1" presStyleIdx="8" presStyleCnt="12"/>
      <dgm:spPr/>
    </dgm:pt>
    <dgm:pt modelId="{FA4E9D2D-DA18-324D-B1C3-67B1A3F8EAE7}" type="pres">
      <dgm:prSet presAssocID="{9DF1E673-2776-4F1E-A2EC-B1DDB776D21C}" presName="dotArrow5" presStyleLbl="alignNode1" presStyleIdx="9" presStyleCnt="12"/>
      <dgm:spPr/>
    </dgm:pt>
    <dgm:pt modelId="{E70236D8-5BE1-784B-8A2A-2F396511B326}" type="pres">
      <dgm:prSet presAssocID="{9DF1E673-2776-4F1E-A2EC-B1DDB776D21C}" presName="dotArrow6" presStyleLbl="alignNode1" presStyleIdx="10" presStyleCnt="12"/>
      <dgm:spPr/>
    </dgm:pt>
    <dgm:pt modelId="{89C55EA1-DF30-AD47-B2BB-899974CD6D87}" type="pres">
      <dgm:prSet presAssocID="{9DF1E673-2776-4F1E-A2EC-B1DDB776D21C}" presName="dotArrow7" presStyleLbl="alignNode1" presStyleIdx="11" presStyleCnt="12"/>
      <dgm:spPr/>
    </dgm:pt>
    <dgm:pt modelId="{E33BCA95-A263-C948-A4E9-7CBE99835A5A}" type="pres">
      <dgm:prSet presAssocID="{1A28799B-8E22-42C2-B653-3BEDDCAB78BA}" presName="parTx1" presStyleLbl="node1" presStyleIdx="0" presStyleCnt="3"/>
      <dgm:spPr/>
    </dgm:pt>
    <dgm:pt modelId="{519C9D3E-AE04-7C4F-8BDC-B8E9A0D831EF}" type="pres">
      <dgm:prSet presAssocID="{1A28799B-8E22-42C2-B653-3BEDDCAB78BA}" presName="desTx1" presStyleLbl="revTx" presStyleIdx="0" presStyleCnt="3">
        <dgm:presLayoutVars>
          <dgm:bulletEnabled val="1"/>
        </dgm:presLayoutVars>
      </dgm:prSet>
      <dgm:spPr/>
    </dgm:pt>
    <dgm:pt modelId="{BBC6CEF8-6DCB-004F-B52B-3B0944E31BC1}" type="pres">
      <dgm:prSet presAssocID="{2F0A0CDB-6B24-4341-BF75-B494970EB2D7}" presName="picture1" presStyleCnt="0"/>
      <dgm:spPr/>
    </dgm:pt>
    <dgm:pt modelId="{EDF37BFD-C1D8-B149-B606-6DFF0B27F68D}" type="pres">
      <dgm:prSet presAssocID="{2F0A0CDB-6B24-4341-BF75-B494970EB2D7}" presName="imageRepeatNode" presStyleLbl="fgImgPlace1" presStyleIdx="0" presStyleCnt="3"/>
      <dgm:spPr/>
    </dgm:pt>
    <dgm:pt modelId="{35E4A350-BE1E-DD42-ABC4-0A3278847054}" type="pres">
      <dgm:prSet presAssocID="{F7DFE36A-A116-1E43-916F-511AE9C65D1E}" presName="parTx2" presStyleLbl="node1" presStyleIdx="1" presStyleCnt="3"/>
      <dgm:spPr/>
    </dgm:pt>
    <dgm:pt modelId="{316B0FA5-14BF-C94E-AEAB-92A244FD922C}" type="pres">
      <dgm:prSet presAssocID="{F7DFE36A-A116-1E43-916F-511AE9C65D1E}" presName="desTx2" presStyleLbl="revTx" presStyleIdx="1" presStyleCnt="3">
        <dgm:presLayoutVars>
          <dgm:bulletEnabled val="1"/>
        </dgm:presLayoutVars>
      </dgm:prSet>
      <dgm:spPr/>
    </dgm:pt>
    <dgm:pt modelId="{4FAC2EEC-F31C-954B-8DF8-79194FC5721F}" type="pres">
      <dgm:prSet presAssocID="{83A2CE06-6E23-4F43-A146-80514EBAEAAB}" presName="picture2" presStyleCnt="0"/>
      <dgm:spPr/>
    </dgm:pt>
    <dgm:pt modelId="{841E551E-E9D9-CF4D-BDB8-E37FB975A135}" type="pres">
      <dgm:prSet presAssocID="{83A2CE06-6E23-4F43-A146-80514EBAEAAB}" presName="imageRepeatNode" presStyleLbl="fgImgPlace1" presStyleIdx="1" presStyleCnt="3"/>
      <dgm:spPr/>
    </dgm:pt>
    <dgm:pt modelId="{80A9C8A7-F39B-E24B-A9EB-B2B2403318CB}" type="pres">
      <dgm:prSet presAssocID="{EE7938EA-1798-EC40-B9DC-8210F08D94EF}" presName="parTx3" presStyleLbl="node1" presStyleIdx="2" presStyleCnt="3"/>
      <dgm:spPr/>
    </dgm:pt>
    <dgm:pt modelId="{2F80420B-3792-AD41-B415-6132D2561E9E}" type="pres">
      <dgm:prSet presAssocID="{EE7938EA-1798-EC40-B9DC-8210F08D94EF}" presName="desTx3" presStyleLbl="revTx" presStyleIdx="2" presStyleCnt="3">
        <dgm:presLayoutVars>
          <dgm:bulletEnabled val="1"/>
        </dgm:presLayoutVars>
      </dgm:prSet>
      <dgm:spPr/>
    </dgm:pt>
    <dgm:pt modelId="{DFFFFA13-C4AC-5245-9BA2-B91C240A0C25}" type="pres">
      <dgm:prSet presAssocID="{71056557-7B62-034B-8721-45B095775CCF}" presName="picture3" presStyleCnt="0"/>
      <dgm:spPr/>
    </dgm:pt>
    <dgm:pt modelId="{9065691D-A3E5-5A43-898C-C563106A4077}" type="pres">
      <dgm:prSet presAssocID="{71056557-7B62-034B-8721-45B095775CCF}" presName="imageRepeatNode" presStyleLbl="fgImgPlace1" presStyleIdx="2" presStyleCnt="3"/>
      <dgm:spPr/>
    </dgm:pt>
  </dgm:ptLst>
  <dgm:cxnLst>
    <dgm:cxn modelId="{A63E9F18-D30A-DE41-B519-71E69D35B588}" type="presOf" srcId="{A03DA39D-C1A1-964B-9645-A2371BCAAAD4}" destId="{316B0FA5-14BF-C94E-AEAB-92A244FD922C}" srcOrd="0" destOrd="0" presId="urn:microsoft.com/office/officeart/2008/layout/AscendingPictureAccentProcess"/>
    <dgm:cxn modelId="{2037CF30-974D-314A-AAD5-0BE830B26238}" type="presOf" srcId="{9DF1E673-2776-4F1E-A2EC-B1DDB776D21C}" destId="{91F6D4CB-F540-8C4B-82F7-C5DE2CBFE1FB}" srcOrd="0" destOrd="0" presId="urn:microsoft.com/office/officeart/2008/layout/AscendingPictureAccentProcess"/>
    <dgm:cxn modelId="{FC615F38-2B27-5C4E-A9A7-E97BBCDCFBF3}" type="presOf" srcId="{1A28799B-8E22-42C2-B653-3BEDDCAB78BA}" destId="{E33BCA95-A263-C948-A4E9-7CBE99835A5A}" srcOrd="0" destOrd="0" presId="urn:microsoft.com/office/officeart/2008/layout/AscendingPictureAccentProcess"/>
    <dgm:cxn modelId="{A495983F-E2D8-4ABE-88D9-3C13D77579B0}" srcId="{1A28799B-8E22-42C2-B653-3BEDDCAB78BA}" destId="{6A04FB35-179D-46CE-B4D9-3FDB38A5B01F}" srcOrd="1" destOrd="0" parTransId="{CDF84568-2A0A-4E8E-A769-1CD7D8C26A7B}" sibTransId="{60F47013-5EFD-41F9-A807-FBD319828FEF}"/>
    <dgm:cxn modelId="{BCBC5F4E-BB1F-4B40-8300-483CD77C3AED}" type="presOf" srcId="{4CF89F6D-DE94-AA43-A3BE-3F6315CAAABE}" destId="{316B0FA5-14BF-C94E-AEAB-92A244FD922C}" srcOrd="0" destOrd="1" presId="urn:microsoft.com/office/officeart/2008/layout/AscendingPictureAccentProcess"/>
    <dgm:cxn modelId="{3E74D851-F952-9547-A2E1-499D8B5929A6}" srcId="{F7DFE36A-A116-1E43-916F-511AE9C65D1E}" destId="{4CF89F6D-DE94-AA43-A3BE-3F6315CAAABE}" srcOrd="1" destOrd="0" parTransId="{077442E5-444F-AD4F-BBE9-1CC7D1E8A1CB}" sibTransId="{F582A034-4994-5D4D-ABB6-034E478C90FB}"/>
    <dgm:cxn modelId="{293BCE79-AABD-1C45-924C-20CD5A21138F}" srcId="{9DF1E673-2776-4F1E-A2EC-B1DDB776D21C}" destId="{F7DFE36A-A116-1E43-916F-511AE9C65D1E}" srcOrd="1" destOrd="0" parTransId="{56BD7585-8A1B-7C4E-9FFE-42B683CB257F}" sibTransId="{83A2CE06-6E23-4F43-A146-80514EBAEAAB}"/>
    <dgm:cxn modelId="{0F84307B-0108-6E43-96CA-52334704F0AA}" type="presOf" srcId="{F7DFE36A-A116-1E43-916F-511AE9C65D1E}" destId="{35E4A350-BE1E-DD42-ABC4-0A3278847054}" srcOrd="0" destOrd="0" presId="urn:microsoft.com/office/officeart/2008/layout/AscendingPictureAccentProcess"/>
    <dgm:cxn modelId="{21C10D87-E3B5-714E-9E3F-88A21140C292}" type="presOf" srcId="{6A04FB35-179D-46CE-B4D9-3FDB38A5B01F}" destId="{519C9D3E-AE04-7C4F-8BDC-B8E9A0D831EF}" srcOrd="0" destOrd="1" presId="urn:microsoft.com/office/officeart/2008/layout/AscendingPictureAccentProcess"/>
    <dgm:cxn modelId="{213D6C87-6FB7-9548-8CA1-3CE33CC3C565}" type="presOf" srcId="{71056557-7B62-034B-8721-45B095775CCF}" destId="{9065691D-A3E5-5A43-898C-C563106A4077}" srcOrd="0" destOrd="0" presId="urn:microsoft.com/office/officeart/2008/layout/AscendingPictureAccentProcess"/>
    <dgm:cxn modelId="{EDE17B92-306A-4440-90F7-11F161F15C84}" type="presOf" srcId="{2F0A0CDB-6B24-4341-BF75-B494970EB2D7}" destId="{EDF37BFD-C1D8-B149-B606-6DFF0B27F68D}" srcOrd="0" destOrd="0" presId="urn:microsoft.com/office/officeart/2008/layout/AscendingPictureAccentProcess"/>
    <dgm:cxn modelId="{DFB8AE9C-B057-C446-90CE-85FA46B44EB0}" srcId="{1A28799B-8E22-42C2-B653-3BEDDCAB78BA}" destId="{E4499575-7659-B84E-92DC-58A633E21C2F}" srcOrd="0" destOrd="0" parTransId="{66934E56-0FBD-4C43-BB97-AFB69C86B6BE}" sibTransId="{7B70F4DE-934C-DE48-A6D9-3E60E86FE806}"/>
    <dgm:cxn modelId="{CA3E58A6-45F9-2A49-BAF9-C9571F57B07B}" type="presOf" srcId="{E4499575-7659-B84E-92DC-58A633E21C2F}" destId="{519C9D3E-AE04-7C4F-8BDC-B8E9A0D831EF}" srcOrd="0" destOrd="0" presId="urn:microsoft.com/office/officeart/2008/layout/AscendingPictureAccentProcess"/>
    <dgm:cxn modelId="{E35F15B6-5C10-6E46-BF97-257E67F12245}" srcId="{9DF1E673-2776-4F1E-A2EC-B1DDB776D21C}" destId="{EE7938EA-1798-EC40-B9DC-8210F08D94EF}" srcOrd="2" destOrd="0" parTransId="{B53AE491-E281-E146-B022-F1F93B75E0C5}" sibTransId="{71056557-7B62-034B-8721-45B095775CCF}"/>
    <dgm:cxn modelId="{ABBF7DB9-01E9-EF43-8ED3-B424C0E2E983}" srcId="{EE7938EA-1798-EC40-B9DC-8210F08D94EF}" destId="{6A5665C4-875B-3A44-AAEB-BF9762A27300}" srcOrd="0" destOrd="0" parTransId="{127A594A-F724-4C4A-993C-0A50ABFD87B9}" sibTransId="{FC0E8139-9A4C-A44F-857E-F07CA19C9CFB}"/>
    <dgm:cxn modelId="{B91EA9C3-91C5-4DB2-A60C-E52A7164B5DF}" srcId="{9DF1E673-2776-4F1E-A2EC-B1DDB776D21C}" destId="{1A28799B-8E22-42C2-B653-3BEDDCAB78BA}" srcOrd="0" destOrd="0" parTransId="{9794DF7F-DB4D-4ABD-A5EB-8C36ECC08F72}" sibTransId="{2F0A0CDB-6B24-4341-BF75-B494970EB2D7}"/>
    <dgm:cxn modelId="{E6D93DCB-B7AD-344B-8920-99C9FCD7EBBE}" type="presOf" srcId="{EE7938EA-1798-EC40-B9DC-8210F08D94EF}" destId="{80A9C8A7-F39B-E24B-A9EB-B2B2403318CB}" srcOrd="0" destOrd="0" presId="urn:microsoft.com/office/officeart/2008/layout/AscendingPictureAccentProcess"/>
    <dgm:cxn modelId="{2841AFDF-C105-EB45-BE20-D15602B56F0C}" type="presOf" srcId="{83A2CE06-6E23-4F43-A146-80514EBAEAAB}" destId="{841E551E-E9D9-CF4D-BDB8-E37FB975A135}" srcOrd="0" destOrd="0" presId="urn:microsoft.com/office/officeart/2008/layout/AscendingPictureAccentProcess"/>
    <dgm:cxn modelId="{728AF1E7-645F-B84D-9178-DC1B5CAAE254}" type="presOf" srcId="{6A5665C4-875B-3A44-AAEB-BF9762A27300}" destId="{2F80420B-3792-AD41-B415-6132D2561E9E}" srcOrd="0" destOrd="0" presId="urn:microsoft.com/office/officeart/2008/layout/AscendingPictureAccentProcess"/>
    <dgm:cxn modelId="{7534F2FD-56B2-0D4C-89F3-FC0B2C295CE3}" srcId="{F7DFE36A-A116-1E43-916F-511AE9C65D1E}" destId="{A03DA39D-C1A1-964B-9645-A2371BCAAAD4}" srcOrd="0" destOrd="0" parTransId="{1B35C694-94CB-084F-BD91-05FEF8BAD0C1}" sibTransId="{11ED13B9-D503-024C-8B45-6F09C669DF8B}"/>
    <dgm:cxn modelId="{BB925A2C-6D50-1849-B386-7BE7ADD90DD7}" type="presParOf" srcId="{91F6D4CB-F540-8C4B-82F7-C5DE2CBFE1FB}" destId="{E0717D3E-A5FF-E54C-887E-7214EA0B445E}" srcOrd="0" destOrd="0" presId="urn:microsoft.com/office/officeart/2008/layout/AscendingPictureAccentProcess"/>
    <dgm:cxn modelId="{6E92AA95-5868-C041-9E70-05A9623DA0D4}" type="presParOf" srcId="{91F6D4CB-F540-8C4B-82F7-C5DE2CBFE1FB}" destId="{EB9999DE-F04A-4747-9BDE-BDBD04B8CDDD}" srcOrd="1" destOrd="0" presId="urn:microsoft.com/office/officeart/2008/layout/AscendingPictureAccentProcess"/>
    <dgm:cxn modelId="{2F7BACE0-B214-4A4F-9C6B-4E8ED429B139}" type="presParOf" srcId="{91F6D4CB-F540-8C4B-82F7-C5DE2CBFE1FB}" destId="{84133DDE-DDFD-044D-9644-8FC9B259D45B}" srcOrd="2" destOrd="0" presId="urn:microsoft.com/office/officeart/2008/layout/AscendingPictureAccentProcess"/>
    <dgm:cxn modelId="{86DDD6BB-861D-C74A-ACA4-EDA6DAF2F552}" type="presParOf" srcId="{91F6D4CB-F540-8C4B-82F7-C5DE2CBFE1FB}" destId="{6E63D8F1-89D7-1743-85D2-0D473C2535C2}" srcOrd="3" destOrd="0" presId="urn:microsoft.com/office/officeart/2008/layout/AscendingPictureAccentProcess"/>
    <dgm:cxn modelId="{70DB8608-2EE1-E24F-8F8D-0CEDB9BA05B7}" type="presParOf" srcId="{91F6D4CB-F540-8C4B-82F7-C5DE2CBFE1FB}" destId="{0396E3A7-7952-C64F-A17F-F1B65AF796E1}" srcOrd="4" destOrd="0" presId="urn:microsoft.com/office/officeart/2008/layout/AscendingPictureAccentProcess"/>
    <dgm:cxn modelId="{E6C98FBF-15B1-1F46-8D35-F125E8A06715}" type="presParOf" srcId="{91F6D4CB-F540-8C4B-82F7-C5DE2CBFE1FB}" destId="{FDDF24EF-9FE8-8D45-BA58-F574210DDC17}" srcOrd="5" destOrd="0" presId="urn:microsoft.com/office/officeart/2008/layout/AscendingPictureAccentProcess"/>
    <dgm:cxn modelId="{173D5EBC-C92B-5741-9B81-E07E133F812F}" type="presParOf" srcId="{91F6D4CB-F540-8C4B-82F7-C5DE2CBFE1FB}" destId="{A1F07B3C-502D-804C-9AC9-A6EFDA9EBA67}" srcOrd="6" destOrd="0" presId="urn:microsoft.com/office/officeart/2008/layout/AscendingPictureAccentProcess"/>
    <dgm:cxn modelId="{CE720D36-A1E0-4D43-BC8A-177FFFCD375C}" type="presParOf" srcId="{91F6D4CB-F540-8C4B-82F7-C5DE2CBFE1FB}" destId="{F45B92D2-6884-904F-B945-AB7DF0B26EA0}" srcOrd="7" destOrd="0" presId="urn:microsoft.com/office/officeart/2008/layout/AscendingPictureAccentProcess"/>
    <dgm:cxn modelId="{B63E0ED3-CFB4-B949-BC72-0FE1F2497ECD}" type="presParOf" srcId="{91F6D4CB-F540-8C4B-82F7-C5DE2CBFE1FB}" destId="{3F5DD063-3BCE-0746-809E-97110E24C5BE}" srcOrd="8" destOrd="0" presId="urn:microsoft.com/office/officeart/2008/layout/AscendingPictureAccentProcess"/>
    <dgm:cxn modelId="{D9467FDC-3661-F14F-B47F-B54A2D0B317D}" type="presParOf" srcId="{91F6D4CB-F540-8C4B-82F7-C5DE2CBFE1FB}" destId="{FA4E9D2D-DA18-324D-B1C3-67B1A3F8EAE7}" srcOrd="9" destOrd="0" presId="urn:microsoft.com/office/officeart/2008/layout/AscendingPictureAccentProcess"/>
    <dgm:cxn modelId="{DB2305A6-2B8B-DD46-A916-193B59D2CCAD}" type="presParOf" srcId="{91F6D4CB-F540-8C4B-82F7-C5DE2CBFE1FB}" destId="{E70236D8-5BE1-784B-8A2A-2F396511B326}" srcOrd="10" destOrd="0" presId="urn:microsoft.com/office/officeart/2008/layout/AscendingPictureAccentProcess"/>
    <dgm:cxn modelId="{96A7AE5A-F809-1142-9BA4-C5D605498958}" type="presParOf" srcId="{91F6D4CB-F540-8C4B-82F7-C5DE2CBFE1FB}" destId="{89C55EA1-DF30-AD47-B2BB-899974CD6D87}" srcOrd="11" destOrd="0" presId="urn:microsoft.com/office/officeart/2008/layout/AscendingPictureAccentProcess"/>
    <dgm:cxn modelId="{227EB491-2153-144A-9AF3-C36078E0E431}" type="presParOf" srcId="{91F6D4CB-F540-8C4B-82F7-C5DE2CBFE1FB}" destId="{E33BCA95-A263-C948-A4E9-7CBE99835A5A}" srcOrd="12" destOrd="0" presId="urn:microsoft.com/office/officeart/2008/layout/AscendingPictureAccentProcess"/>
    <dgm:cxn modelId="{9AB54B1D-B6D1-754A-9D81-7767781209AD}" type="presParOf" srcId="{91F6D4CB-F540-8C4B-82F7-C5DE2CBFE1FB}" destId="{519C9D3E-AE04-7C4F-8BDC-B8E9A0D831EF}" srcOrd="13" destOrd="0" presId="urn:microsoft.com/office/officeart/2008/layout/AscendingPictureAccentProcess"/>
    <dgm:cxn modelId="{C1048F6E-27FA-B34A-8C48-F4EC86BDD924}" type="presParOf" srcId="{91F6D4CB-F540-8C4B-82F7-C5DE2CBFE1FB}" destId="{BBC6CEF8-6DCB-004F-B52B-3B0944E31BC1}" srcOrd="14" destOrd="0" presId="urn:microsoft.com/office/officeart/2008/layout/AscendingPictureAccentProcess"/>
    <dgm:cxn modelId="{8A83F323-C6FD-E544-8FA1-34B1A03DEE6D}" type="presParOf" srcId="{BBC6CEF8-6DCB-004F-B52B-3B0944E31BC1}" destId="{EDF37BFD-C1D8-B149-B606-6DFF0B27F68D}" srcOrd="0" destOrd="0" presId="urn:microsoft.com/office/officeart/2008/layout/AscendingPictureAccentProcess"/>
    <dgm:cxn modelId="{A1D896E6-A39C-A043-B562-DFF75F43C1AE}" type="presParOf" srcId="{91F6D4CB-F540-8C4B-82F7-C5DE2CBFE1FB}" destId="{35E4A350-BE1E-DD42-ABC4-0A3278847054}" srcOrd="15" destOrd="0" presId="urn:microsoft.com/office/officeart/2008/layout/AscendingPictureAccentProcess"/>
    <dgm:cxn modelId="{41B6BA68-A88C-A14B-A338-9DBBE96C25B4}" type="presParOf" srcId="{91F6D4CB-F540-8C4B-82F7-C5DE2CBFE1FB}" destId="{316B0FA5-14BF-C94E-AEAB-92A244FD922C}" srcOrd="16" destOrd="0" presId="urn:microsoft.com/office/officeart/2008/layout/AscendingPictureAccentProcess"/>
    <dgm:cxn modelId="{312CF576-2789-6247-9973-39A9EAB7CC7E}" type="presParOf" srcId="{91F6D4CB-F540-8C4B-82F7-C5DE2CBFE1FB}" destId="{4FAC2EEC-F31C-954B-8DF8-79194FC5721F}" srcOrd="17" destOrd="0" presId="urn:microsoft.com/office/officeart/2008/layout/AscendingPictureAccentProcess"/>
    <dgm:cxn modelId="{4D8CD7E8-BB74-AD4C-B0B5-760D605D76BA}" type="presParOf" srcId="{4FAC2EEC-F31C-954B-8DF8-79194FC5721F}" destId="{841E551E-E9D9-CF4D-BDB8-E37FB975A135}" srcOrd="0" destOrd="0" presId="urn:microsoft.com/office/officeart/2008/layout/AscendingPictureAccentProcess"/>
    <dgm:cxn modelId="{00DF7AB0-BF1C-8248-9BC8-63070F2CFC45}" type="presParOf" srcId="{91F6D4CB-F540-8C4B-82F7-C5DE2CBFE1FB}" destId="{80A9C8A7-F39B-E24B-A9EB-B2B2403318CB}" srcOrd="18" destOrd="0" presId="urn:microsoft.com/office/officeart/2008/layout/AscendingPictureAccentProcess"/>
    <dgm:cxn modelId="{B44C36E5-E8AA-5443-A17A-93CD85EF62A3}" type="presParOf" srcId="{91F6D4CB-F540-8C4B-82F7-C5DE2CBFE1FB}" destId="{2F80420B-3792-AD41-B415-6132D2561E9E}" srcOrd="19" destOrd="0" presId="urn:microsoft.com/office/officeart/2008/layout/AscendingPictureAccentProcess"/>
    <dgm:cxn modelId="{3855F35E-FAC3-9E48-9E90-2027CEDB1F12}" type="presParOf" srcId="{91F6D4CB-F540-8C4B-82F7-C5DE2CBFE1FB}" destId="{DFFFFA13-C4AC-5245-9BA2-B91C240A0C25}" srcOrd="20" destOrd="0" presId="urn:microsoft.com/office/officeart/2008/layout/AscendingPictureAccentProcess"/>
    <dgm:cxn modelId="{F2E96928-A8E4-C64F-95D2-4385EA6B9E1D}" type="presParOf" srcId="{DFFFFA13-C4AC-5245-9BA2-B91C240A0C25}" destId="{9065691D-A3E5-5A43-898C-C563106A4077}" srcOrd="0" destOrd="0" presId="urn:microsoft.com/office/officeart/2008/layout/AscendingPictureAccent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503FD56-334C-4C98-BF68-D87C34B90931}" type="doc">
      <dgm:prSet loTypeId="urn:microsoft.com/office/officeart/2005/8/layout/hProcess9" loCatId="process" qsTypeId="urn:microsoft.com/office/officeart/2005/8/quickstyle/simple4" qsCatId="simple" csTypeId="urn:microsoft.com/office/officeart/2005/8/colors/accent3_2" csCatId="accent3" phldr="1"/>
      <dgm:spPr/>
      <dgm:t>
        <a:bodyPr/>
        <a:lstStyle/>
        <a:p>
          <a:endParaRPr lang="en-US"/>
        </a:p>
      </dgm:t>
    </dgm:pt>
    <dgm:pt modelId="{2FEBDDC3-8285-4603-8AEA-5103059452A2}">
      <dgm:prSet custT="1"/>
      <dgm:spPr/>
      <dgm:t>
        <a:bodyPr/>
        <a:lstStyle/>
        <a:p>
          <a:r>
            <a:rPr lang="en-US" sz="2400" b="0" i="0" baseline="0" dirty="0"/>
            <a:t>Funds Housing</a:t>
          </a:r>
          <a:endParaRPr lang="en-US" sz="2400" dirty="0"/>
        </a:p>
      </dgm:t>
    </dgm:pt>
    <dgm:pt modelId="{115BB58D-6B11-42BC-9E1C-B81AF0D47FC3}" type="parTrans" cxnId="{64830AA7-499A-4E23-95DF-840BF55DB263}">
      <dgm:prSet/>
      <dgm:spPr/>
      <dgm:t>
        <a:bodyPr/>
        <a:lstStyle/>
        <a:p>
          <a:endParaRPr lang="en-US"/>
        </a:p>
      </dgm:t>
    </dgm:pt>
    <dgm:pt modelId="{A6944D54-F006-4C46-96D0-5E7778A08099}" type="sibTrans" cxnId="{64830AA7-499A-4E23-95DF-840BF55DB263}">
      <dgm:prSet/>
      <dgm:spPr/>
      <dgm:t>
        <a:bodyPr/>
        <a:lstStyle/>
        <a:p>
          <a:endParaRPr lang="en-US"/>
        </a:p>
      </dgm:t>
    </dgm:pt>
    <dgm:pt modelId="{0DAF2F15-99C0-4DE2-BC47-0F755BD1B260}">
      <dgm:prSet custT="1"/>
      <dgm:spPr/>
      <dgm:t>
        <a:bodyPr/>
        <a:lstStyle/>
        <a:p>
          <a:pPr algn="l"/>
          <a:r>
            <a:rPr lang="en-US" sz="2400" b="0" i="0" baseline="0" dirty="0"/>
            <a:t>Requires Low Carbon &amp; EPDs</a:t>
          </a:r>
          <a:endParaRPr lang="en-US" sz="2400" dirty="0"/>
        </a:p>
      </dgm:t>
    </dgm:pt>
    <dgm:pt modelId="{A0873BCB-A0E5-4809-8E39-313A3D8E5DF8}" type="parTrans" cxnId="{ACB6BEB2-7550-4BF9-BB39-BA102A1159D4}">
      <dgm:prSet/>
      <dgm:spPr/>
      <dgm:t>
        <a:bodyPr/>
        <a:lstStyle/>
        <a:p>
          <a:endParaRPr lang="en-US"/>
        </a:p>
      </dgm:t>
    </dgm:pt>
    <dgm:pt modelId="{AA25A39B-F495-4EC0-9B26-E074FFD9B0EE}" type="sibTrans" cxnId="{ACB6BEB2-7550-4BF9-BB39-BA102A1159D4}">
      <dgm:prSet/>
      <dgm:spPr/>
      <dgm:t>
        <a:bodyPr/>
        <a:lstStyle/>
        <a:p>
          <a:endParaRPr lang="en-US"/>
        </a:p>
      </dgm:t>
    </dgm:pt>
    <dgm:pt modelId="{6577E443-433B-5C41-B1AD-FA88DCDA5040}" type="pres">
      <dgm:prSet presAssocID="{1503FD56-334C-4C98-BF68-D87C34B90931}" presName="CompostProcess" presStyleCnt="0">
        <dgm:presLayoutVars>
          <dgm:dir/>
          <dgm:resizeHandles val="exact"/>
        </dgm:presLayoutVars>
      </dgm:prSet>
      <dgm:spPr/>
    </dgm:pt>
    <dgm:pt modelId="{F7583A5A-9E75-AB4A-9E37-10A31A3E3D26}" type="pres">
      <dgm:prSet presAssocID="{1503FD56-334C-4C98-BF68-D87C34B90931}" presName="arrow" presStyleLbl="bgShp" presStyleIdx="0" presStyleCnt="1"/>
      <dgm:spPr/>
    </dgm:pt>
    <dgm:pt modelId="{9CDD8D1B-2AAF-DC40-BAFE-4D30F733EEB4}" type="pres">
      <dgm:prSet presAssocID="{1503FD56-334C-4C98-BF68-D87C34B90931}" presName="linearProcess" presStyleCnt="0"/>
      <dgm:spPr/>
    </dgm:pt>
    <dgm:pt modelId="{0C46D5E5-3DEB-8C41-9FD2-30CE8450768A}" type="pres">
      <dgm:prSet presAssocID="{2FEBDDC3-8285-4603-8AEA-5103059452A2}" presName="textNode" presStyleLbl="node1" presStyleIdx="0" presStyleCnt="2">
        <dgm:presLayoutVars>
          <dgm:bulletEnabled val="1"/>
        </dgm:presLayoutVars>
      </dgm:prSet>
      <dgm:spPr/>
    </dgm:pt>
    <dgm:pt modelId="{FD3D972F-A511-D242-961A-18BE39DD3A61}" type="pres">
      <dgm:prSet presAssocID="{A6944D54-F006-4C46-96D0-5E7778A08099}" presName="sibTrans" presStyleCnt="0"/>
      <dgm:spPr/>
    </dgm:pt>
    <dgm:pt modelId="{73F65A09-AB9E-804D-8A71-911EDD3339BB}" type="pres">
      <dgm:prSet presAssocID="{0DAF2F15-99C0-4DE2-BC47-0F755BD1B260}" presName="textNode" presStyleLbl="node1" presStyleIdx="1" presStyleCnt="2">
        <dgm:presLayoutVars>
          <dgm:bulletEnabled val="1"/>
        </dgm:presLayoutVars>
      </dgm:prSet>
      <dgm:spPr/>
    </dgm:pt>
  </dgm:ptLst>
  <dgm:cxnLst>
    <dgm:cxn modelId="{5446B24F-846B-484D-9EF5-7CDA2F82AB16}" type="presOf" srcId="{0DAF2F15-99C0-4DE2-BC47-0F755BD1B260}" destId="{73F65A09-AB9E-804D-8A71-911EDD3339BB}" srcOrd="0" destOrd="0" presId="urn:microsoft.com/office/officeart/2005/8/layout/hProcess9"/>
    <dgm:cxn modelId="{5EBD4352-E17C-5F4A-9740-5BD469C7A67A}" type="presOf" srcId="{2FEBDDC3-8285-4603-8AEA-5103059452A2}" destId="{0C46D5E5-3DEB-8C41-9FD2-30CE8450768A}" srcOrd="0" destOrd="0" presId="urn:microsoft.com/office/officeart/2005/8/layout/hProcess9"/>
    <dgm:cxn modelId="{64830AA7-499A-4E23-95DF-840BF55DB263}" srcId="{1503FD56-334C-4C98-BF68-D87C34B90931}" destId="{2FEBDDC3-8285-4603-8AEA-5103059452A2}" srcOrd="0" destOrd="0" parTransId="{115BB58D-6B11-42BC-9E1C-B81AF0D47FC3}" sibTransId="{A6944D54-F006-4C46-96D0-5E7778A08099}"/>
    <dgm:cxn modelId="{ACB6BEB2-7550-4BF9-BB39-BA102A1159D4}" srcId="{1503FD56-334C-4C98-BF68-D87C34B90931}" destId="{0DAF2F15-99C0-4DE2-BC47-0F755BD1B260}" srcOrd="1" destOrd="0" parTransId="{A0873BCB-A0E5-4809-8E39-313A3D8E5DF8}" sibTransId="{AA25A39B-F495-4EC0-9B26-E074FFD9B0EE}"/>
    <dgm:cxn modelId="{75E476D4-41A7-C64B-A6DE-90DB75A40797}" type="presOf" srcId="{1503FD56-334C-4C98-BF68-D87C34B90931}" destId="{6577E443-433B-5C41-B1AD-FA88DCDA5040}" srcOrd="0" destOrd="0" presId="urn:microsoft.com/office/officeart/2005/8/layout/hProcess9"/>
    <dgm:cxn modelId="{163783B8-F537-104B-8646-C83C7B2D0CB2}" type="presParOf" srcId="{6577E443-433B-5C41-B1AD-FA88DCDA5040}" destId="{F7583A5A-9E75-AB4A-9E37-10A31A3E3D26}" srcOrd="0" destOrd="0" presId="urn:microsoft.com/office/officeart/2005/8/layout/hProcess9"/>
    <dgm:cxn modelId="{EC65D010-5623-E14E-B1A6-B73A52D0B9B7}" type="presParOf" srcId="{6577E443-433B-5C41-B1AD-FA88DCDA5040}" destId="{9CDD8D1B-2AAF-DC40-BAFE-4D30F733EEB4}" srcOrd="1" destOrd="0" presId="urn:microsoft.com/office/officeart/2005/8/layout/hProcess9"/>
    <dgm:cxn modelId="{B71B2A70-B670-D442-AACF-D8CA75232C6B}" type="presParOf" srcId="{9CDD8D1B-2AAF-DC40-BAFE-4D30F733EEB4}" destId="{0C46D5E5-3DEB-8C41-9FD2-30CE8450768A}" srcOrd="0" destOrd="0" presId="urn:microsoft.com/office/officeart/2005/8/layout/hProcess9"/>
    <dgm:cxn modelId="{EA4052EB-2429-6A4A-8042-11814369F313}" type="presParOf" srcId="{9CDD8D1B-2AAF-DC40-BAFE-4D30F733EEB4}" destId="{FD3D972F-A511-D242-961A-18BE39DD3A61}" srcOrd="1" destOrd="0" presId="urn:microsoft.com/office/officeart/2005/8/layout/hProcess9"/>
    <dgm:cxn modelId="{852F7C91-5769-C240-9234-A7E4900DB033}" type="presParOf" srcId="{9CDD8D1B-2AAF-DC40-BAFE-4D30F733EEB4}" destId="{73F65A09-AB9E-804D-8A71-911EDD3339BB}" srcOrd="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A5E1261-114E-FC4D-A006-D11DBEE193BE}"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US"/>
        </a:p>
      </dgm:t>
    </dgm:pt>
    <dgm:pt modelId="{DDFE0DBE-ED47-3D4E-964A-D5DC32890427}">
      <dgm:prSet/>
      <dgm:spPr/>
      <dgm:t>
        <a:bodyPr/>
        <a:lstStyle/>
        <a:p>
          <a:r>
            <a:rPr lang="en-US" b="0" i="1" baseline="0" dirty="0"/>
            <a:t>XPS: 15 - 20x GWP </a:t>
          </a:r>
          <a:endParaRPr lang="en-US" dirty="0"/>
        </a:p>
      </dgm:t>
    </dgm:pt>
    <dgm:pt modelId="{19218827-A45E-0A48-8395-DBDC67BF453B}" type="parTrans" cxnId="{BADFD61C-2CA2-794E-B929-8CA1327D8395}">
      <dgm:prSet/>
      <dgm:spPr/>
      <dgm:t>
        <a:bodyPr/>
        <a:lstStyle/>
        <a:p>
          <a:endParaRPr lang="en-US"/>
        </a:p>
      </dgm:t>
    </dgm:pt>
    <dgm:pt modelId="{90925EB8-6D62-6742-95B9-D880A7B050C0}" type="sibTrans" cxnId="{BADFD61C-2CA2-794E-B929-8CA1327D8395}">
      <dgm:prSet/>
      <dgm:spPr/>
      <dgm:t>
        <a:bodyPr/>
        <a:lstStyle/>
        <a:p>
          <a:endParaRPr lang="en-US" dirty="0"/>
        </a:p>
      </dgm:t>
    </dgm:pt>
    <dgm:pt modelId="{D30A54A3-B2CB-1D48-A2F5-593F5812432C}">
      <dgm:prSet/>
      <dgm:spPr/>
      <dgm:t>
        <a:bodyPr/>
        <a:lstStyle/>
        <a:p>
          <a:r>
            <a:rPr lang="en-US" b="0" i="1" baseline="0" dirty="0"/>
            <a:t>Blown cellulose lowest but needs to be contained</a:t>
          </a:r>
          <a:endParaRPr lang="en-US" dirty="0"/>
        </a:p>
      </dgm:t>
    </dgm:pt>
    <dgm:pt modelId="{431EB651-013B-234E-9BAA-375D61D589FC}" type="parTrans" cxnId="{ADDFF6D9-244E-A54C-8ED2-99A2A88C81B9}">
      <dgm:prSet/>
      <dgm:spPr/>
      <dgm:t>
        <a:bodyPr/>
        <a:lstStyle/>
        <a:p>
          <a:endParaRPr lang="en-US"/>
        </a:p>
      </dgm:t>
    </dgm:pt>
    <dgm:pt modelId="{0B08849E-3245-EE43-A1B4-FA7C6E00F445}" type="sibTrans" cxnId="{ADDFF6D9-244E-A54C-8ED2-99A2A88C81B9}">
      <dgm:prSet/>
      <dgm:spPr/>
      <dgm:t>
        <a:bodyPr/>
        <a:lstStyle/>
        <a:p>
          <a:endParaRPr lang="en-US" dirty="0"/>
        </a:p>
      </dgm:t>
    </dgm:pt>
    <dgm:pt modelId="{14AA3EB9-DB64-354F-9C4D-D557F3182494}">
      <dgm:prSet/>
      <dgm:spPr/>
      <dgm:t>
        <a:bodyPr/>
        <a:lstStyle/>
        <a:p>
          <a:r>
            <a:rPr lang="en-US" b="0" i="1" baseline="0" dirty="0"/>
            <a:t>GPS offers good embodied carbon values</a:t>
          </a:r>
          <a:endParaRPr lang="en-US" dirty="0"/>
        </a:p>
      </dgm:t>
    </dgm:pt>
    <dgm:pt modelId="{383D0472-0196-5843-8DF7-16E05EA7E935}" type="parTrans" cxnId="{571B88CC-A04B-4A41-875B-688C7FF65135}">
      <dgm:prSet/>
      <dgm:spPr/>
      <dgm:t>
        <a:bodyPr/>
        <a:lstStyle/>
        <a:p>
          <a:endParaRPr lang="en-US"/>
        </a:p>
      </dgm:t>
    </dgm:pt>
    <dgm:pt modelId="{5DB7E9C5-A130-8344-A652-31159AB00D1D}" type="sibTrans" cxnId="{571B88CC-A04B-4A41-875B-688C7FF65135}">
      <dgm:prSet/>
      <dgm:spPr/>
      <dgm:t>
        <a:bodyPr/>
        <a:lstStyle/>
        <a:p>
          <a:endParaRPr lang="en-US"/>
        </a:p>
      </dgm:t>
    </dgm:pt>
    <dgm:pt modelId="{EBF9936F-2A1A-2346-8E27-B9DA212C9F8A}">
      <dgm:prSet/>
      <dgm:spPr/>
      <dgm:t>
        <a:bodyPr/>
        <a:lstStyle/>
        <a:p>
          <a:r>
            <a:rPr lang="en-US" dirty="0"/>
            <a:t>Major Take Aways </a:t>
          </a:r>
        </a:p>
      </dgm:t>
    </dgm:pt>
    <dgm:pt modelId="{5508AAD1-D6A6-A445-9FC1-2D7A3F08F5D7}" type="parTrans" cxnId="{5D85635E-4BB4-1B46-9176-C824C2C71B3A}">
      <dgm:prSet/>
      <dgm:spPr/>
      <dgm:t>
        <a:bodyPr/>
        <a:lstStyle/>
        <a:p>
          <a:endParaRPr lang="en-US"/>
        </a:p>
      </dgm:t>
    </dgm:pt>
    <dgm:pt modelId="{D58D2F61-BA04-614E-ACE3-FE3A84EA1EF2}" type="sibTrans" cxnId="{5D85635E-4BB4-1B46-9176-C824C2C71B3A}">
      <dgm:prSet/>
      <dgm:spPr/>
      <dgm:t>
        <a:bodyPr/>
        <a:lstStyle/>
        <a:p>
          <a:endParaRPr lang="en-US" dirty="0"/>
        </a:p>
      </dgm:t>
    </dgm:pt>
    <dgm:pt modelId="{78907B7F-35A9-E349-BBC9-E69F5A8651F1}" type="pres">
      <dgm:prSet presAssocID="{2A5E1261-114E-FC4D-A006-D11DBEE193BE}" presName="linearFlow" presStyleCnt="0">
        <dgm:presLayoutVars>
          <dgm:resizeHandles val="exact"/>
        </dgm:presLayoutVars>
      </dgm:prSet>
      <dgm:spPr/>
    </dgm:pt>
    <dgm:pt modelId="{8C0CFDDA-CDC3-8249-9681-9F933A36CA1D}" type="pres">
      <dgm:prSet presAssocID="{EBF9936F-2A1A-2346-8E27-B9DA212C9F8A}" presName="node" presStyleLbl="node1" presStyleIdx="0" presStyleCnt="4">
        <dgm:presLayoutVars>
          <dgm:bulletEnabled val="1"/>
        </dgm:presLayoutVars>
      </dgm:prSet>
      <dgm:spPr/>
    </dgm:pt>
    <dgm:pt modelId="{0350B972-8C18-814F-B5FD-1A57A60DEEAA}" type="pres">
      <dgm:prSet presAssocID="{D58D2F61-BA04-614E-ACE3-FE3A84EA1EF2}" presName="sibTrans" presStyleLbl="sibTrans2D1" presStyleIdx="0" presStyleCnt="3"/>
      <dgm:spPr/>
    </dgm:pt>
    <dgm:pt modelId="{F8F9F773-4918-1A44-B3CE-0ECD3B954668}" type="pres">
      <dgm:prSet presAssocID="{D58D2F61-BA04-614E-ACE3-FE3A84EA1EF2}" presName="connectorText" presStyleLbl="sibTrans2D1" presStyleIdx="0" presStyleCnt="3"/>
      <dgm:spPr/>
    </dgm:pt>
    <dgm:pt modelId="{7D0C70CF-7D57-714A-87EA-A8FACBF32057}" type="pres">
      <dgm:prSet presAssocID="{DDFE0DBE-ED47-3D4E-964A-D5DC32890427}" presName="node" presStyleLbl="node1" presStyleIdx="1" presStyleCnt="4">
        <dgm:presLayoutVars>
          <dgm:bulletEnabled val="1"/>
        </dgm:presLayoutVars>
      </dgm:prSet>
      <dgm:spPr/>
    </dgm:pt>
    <dgm:pt modelId="{FF96D150-7F3E-1247-A661-77F8CDC54A58}" type="pres">
      <dgm:prSet presAssocID="{90925EB8-6D62-6742-95B9-D880A7B050C0}" presName="sibTrans" presStyleLbl="sibTrans2D1" presStyleIdx="1" presStyleCnt="3"/>
      <dgm:spPr/>
    </dgm:pt>
    <dgm:pt modelId="{1AFE2317-8CD0-7948-9432-55EB00ADF7BB}" type="pres">
      <dgm:prSet presAssocID="{90925EB8-6D62-6742-95B9-D880A7B050C0}" presName="connectorText" presStyleLbl="sibTrans2D1" presStyleIdx="1" presStyleCnt="3"/>
      <dgm:spPr/>
    </dgm:pt>
    <dgm:pt modelId="{A88CF44D-934C-3548-A9A4-25ECD9774D0F}" type="pres">
      <dgm:prSet presAssocID="{D30A54A3-B2CB-1D48-A2F5-593F5812432C}" presName="node" presStyleLbl="node1" presStyleIdx="2" presStyleCnt="4">
        <dgm:presLayoutVars>
          <dgm:bulletEnabled val="1"/>
        </dgm:presLayoutVars>
      </dgm:prSet>
      <dgm:spPr/>
    </dgm:pt>
    <dgm:pt modelId="{3127B4F6-C824-7B44-8CC3-A70CAFE9CEF4}" type="pres">
      <dgm:prSet presAssocID="{0B08849E-3245-EE43-A1B4-FA7C6E00F445}" presName="sibTrans" presStyleLbl="sibTrans2D1" presStyleIdx="2" presStyleCnt="3"/>
      <dgm:spPr/>
    </dgm:pt>
    <dgm:pt modelId="{A66A1DFF-FA83-474A-9C87-12F047B67CEA}" type="pres">
      <dgm:prSet presAssocID="{0B08849E-3245-EE43-A1B4-FA7C6E00F445}" presName="connectorText" presStyleLbl="sibTrans2D1" presStyleIdx="2" presStyleCnt="3"/>
      <dgm:spPr/>
    </dgm:pt>
    <dgm:pt modelId="{01FD4B1E-7749-7E49-AF3A-EA4BC4C3C786}" type="pres">
      <dgm:prSet presAssocID="{14AA3EB9-DB64-354F-9C4D-D557F3182494}" presName="node" presStyleLbl="node1" presStyleIdx="3" presStyleCnt="4">
        <dgm:presLayoutVars>
          <dgm:bulletEnabled val="1"/>
        </dgm:presLayoutVars>
      </dgm:prSet>
      <dgm:spPr/>
    </dgm:pt>
  </dgm:ptLst>
  <dgm:cxnLst>
    <dgm:cxn modelId="{D62DE600-5EDB-FD48-B7B1-57CE962B9DC6}" type="presOf" srcId="{2A5E1261-114E-FC4D-A006-D11DBEE193BE}" destId="{78907B7F-35A9-E349-BBC9-E69F5A8651F1}" srcOrd="0" destOrd="0" presId="urn:microsoft.com/office/officeart/2005/8/layout/process2"/>
    <dgm:cxn modelId="{BADFD61C-2CA2-794E-B929-8CA1327D8395}" srcId="{2A5E1261-114E-FC4D-A006-D11DBEE193BE}" destId="{DDFE0DBE-ED47-3D4E-964A-D5DC32890427}" srcOrd="1" destOrd="0" parTransId="{19218827-A45E-0A48-8395-DBDC67BF453B}" sibTransId="{90925EB8-6D62-6742-95B9-D880A7B050C0}"/>
    <dgm:cxn modelId="{DE7D641F-59E6-4C47-9E80-7D444CE0CC0A}" type="presOf" srcId="{D58D2F61-BA04-614E-ACE3-FE3A84EA1EF2}" destId="{F8F9F773-4918-1A44-B3CE-0ECD3B954668}" srcOrd="1" destOrd="0" presId="urn:microsoft.com/office/officeart/2005/8/layout/process2"/>
    <dgm:cxn modelId="{BBA0A54B-862D-2B45-9026-32511BCC2AF5}" type="presOf" srcId="{14AA3EB9-DB64-354F-9C4D-D557F3182494}" destId="{01FD4B1E-7749-7E49-AF3A-EA4BC4C3C786}" srcOrd="0" destOrd="0" presId="urn:microsoft.com/office/officeart/2005/8/layout/process2"/>
    <dgm:cxn modelId="{5D85635E-4BB4-1B46-9176-C824C2C71B3A}" srcId="{2A5E1261-114E-FC4D-A006-D11DBEE193BE}" destId="{EBF9936F-2A1A-2346-8E27-B9DA212C9F8A}" srcOrd="0" destOrd="0" parTransId="{5508AAD1-D6A6-A445-9FC1-2D7A3F08F5D7}" sibTransId="{D58D2F61-BA04-614E-ACE3-FE3A84EA1EF2}"/>
    <dgm:cxn modelId="{7113F377-CB62-BA47-A7CC-330E7915C65F}" type="presOf" srcId="{90925EB8-6D62-6742-95B9-D880A7B050C0}" destId="{FF96D150-7F3E-1247-A661-77F8CDC54A58}" srcOrd="0" destOrd="0" presId="urn:microsoft.com/office/officeart/2005/8/layout/process2"/>
    <dgm:cxn modelId="{7358BA78-30FA-CE4A-8CDB-E87013D444DE}" type="presOf" srcId="{0B08849E-3245-EE43-A1B4-FA7C6E00F445}" destId="{3127B4F6-C824-7B44-8CC3-A70CAFE9CEF4}" srcOrd="0" destOrd="0" presId="urn:microsoft.com/office/officeart/2005/8/layout/process2"/>
    <dgm:cxn modelId="{58B49C8B-578E-8944-8E9B-7A414ABF3A10}" type="presOf" srcId="{EBF9936F-2A1A-2346-8E27-B9DA212C9F8A}" destId="{8C0CFDDA-CDC3-8249-9681-9F933A36CA1D}" srcOrd="0" destOrd="0" presId="urn:microsoft.com/office/officeart/2005/8/layout/process2"/>
    <dgm:cxn modelId="{CB7D79A0-6819-E941-BB4F-C01AA5C8F67B}" type="presOf" srcId="{D58D2F61-BA04-614E-ACE3-FE3A84EA1EF2}" destId="{0350B972-8C18-814F-B5FD-1A57A60DEEAA}" srcOrd="0" destOrd="0" presId="urn:microsoft.com/office/officeart/2005/8/layout/process2"/>
    <dgm:cxn modelId="{571B88CC-A04B-4A41-875B-688C7FF65135}" srcId="{2A5E1261-114E-FC4D-A006-D11DBEE193BE}" destId="{14AA3EB9-DB64-354F-9C4D-D557F3182494}" srcOrd="3" destOrd="0" parTransId="{383D0472-0196-5843-8DF7-16E05EA7E935}" sibTransId="{5DB7E9C5-A130-8344-A652-31159AB00D1D}"/>
    <dgm:cxn modelId="{ADDFF6D9-244E-A54C-8ED2-99A2A88C81B9}" srcId="{2A5E1261-114E-FC4D-A006-D11DBEE193BE}" destId="{D30A54A3-B2CB-1D48-A2F5-593F5812432C}" srcOrd="2" destOrd="0" parTransId="{431EB651-013B-234E-9BAA-375D61D589FC}" sibTransId="{0B08849E-3245-EE43-A1B4-FA7C6E00F445}"/>
    <dgm:cxn modelId="{5CB7D8DF-92D0-8C4F-87F3-167FC1A44518}" type="presOf" srcId="{0B08849E-3245-EE43-A1B4-FA7C6E00F445}" destId="{A66A1DFF-FA83-474A-9C87-12F047B67CEA}" srcOrd="1" destOrd="0" presId="urn:microsoft.com/office/officeart/2005/8/layout/process2"/>
    <dgm:cxn modelId="{B9D773F0-D2D4-AF46-BE1C-7A23207D8298}" type="presOf" srcId="{D30A54A3-B2CB-1D48-A2F5-593F5812432C}" destId="{A88CF44D-934C-3548-A9A4-25ECD9774D0F}" srcOrd="0" destOrd="0" presId="urn:microsoft.com/office/officeart/2005/8/layout/process2"/>
    <dgm:cxn modelId="{F70E8FF3-F4D5-AF46-9226-7D70697E1229}" type="presOf" srcId="{DDFE0DBE-ED47-3D4E-964A-D5DC32890427}" destId="{7D0C70CF-7D57-714A-87EA-A8FACBF32057}" srcOrd="0" destOrd="0" presId="urn:microsoft.com/office/officeart/2005/8/layout/process2"/>
    <dgm:cxn modelId="{007EE2FB-AFEF-2043-906C-1696DEA7E01A}" type="presOf" srcId="{90925EB8-6D62-6742-95B9-D880A7B050C0}" destId="{1AFE2317-8CD0-7948-9432-55EB00ADF7BB}" srcOrd="1" destOrd="0" presId="urn:microsoft.com/office/officeart/2005/8/layout/process2"/>
    <dgm:cxn modelId="{0796C832-48E1-C641-8EBA-ADEE38153607}" type="presParOf" srcId="{78907B7F-35A9-E349-BBC9-E69F5A8651F1}" destId="{8C0CFDDA-CDC3-8249-9681-9F933A36CA1D}" srcOrd="0" destOrd="0" presId="urn:microsoft.com/office/officeart/2005/8/layout/process2"/>
    <dgm:cxn modelId="{0EA8DE29-CD6E-894A-9814-12F7C7B400F2}" type="presParOf" srcId="{78907B7F-35A9-E349-BBC9-E69F5A8651F1}" destId="{0350B972-8C18-814F-B5FD-1A57A60DEEAA}" srcOrd="1" destOrd="0" presId="urn:microsoft.com/office/officeart/2005/8/layout/process2"/>
    <dgm:cxn modelId="{0CB2FE52-21B0-C74D-8255-C4744496D646}" type="presParOf" srcId="{0350B972-8C18-814F-B5FD-1A57A60DEEAA}" destId="{F8F9F773-4918-1A44-B3CE-0ECD3B954668}" srcOrd="0" destOrd="0" presId="urn:microsoft.com/office/officeart/2005/8/layout/process2"/>
    <dgm:cxn modelId="{F1775F28-A4A4-BD47-AB7B-BC4C38076556}" type="presParOf" srcId="{78907B7F-35A9-E349-BBC9-E69F5A8651F1}" destId="{7D0C70CF-7D57-714A-87EA-A8FACBF32057}" srcOrd="2" destOrd="0" presId="urn:microsoft.com/office/officeart/2005/8/layout/process2"/>
    <dgm:cxn modelId="{3D10FEC3-5CA8-9945-A5BE-993CB834C88C}" type="presParOf" srcId="{78907B7F-35A9-E349-BBC9-E69F5A8651F1}" destId="{FF96D150-7F3E-1247-A661-77F8CDC54A58}" srcOrd="3" destOrd="0" presId="urn:microsoft.com/office/officeart/2005/8/layout/process2"/>
    <dgm:cxn modelId="{EEE6B5A7-BCF2-9E44-959A-D6D16761FA34}" type="presParOf" srcId="{FF96D150-7F3E-1247-A661-77F8CDC54A58}" destId="{1AFE2317-8CD0-7948-9432-55EB00ADF7BB}" srcOrd="0" destOrd="0" presId="urn:microsoft.com/office/officeart/2005/8/layout/process2"/>
    <dgm:cxn modelId="{8363CEBB-6361-734B-89A3-6E439FCDEC19}" type="presParOf" srcId="{78907B7F-35A9-E349-BBC9-E69F5A8651F1}" destId="{A88CF44D-934C-3548-A9A4-25ECD9774D0F}" srcOrd="4" destOrd="0" presId="urn:microsoft.com/office/officeart/2005/8/layout/process2"/>
    <dgm:cxn modelId="{A611C4C7-C16B-AC41-8C43-948687E0A769}" type="presParOf" srcId="{78907B7F-35A9-E349-BBC9-E69F5A8651F1}" destId="{3127B4F6-C824-7B44-8CC3-A70CAFE9CEF4}" srcOrd="5" destOrd="0" presId="urn:microsoft.com/office/officeart/2005/8/layout/process2"/>
    <dgm:cxn modelId="{6B9DAB9A-B6B3-6E45-9B9B-18AFDE2CD12C}" type="presParOf" srcId="{3127B4F6-C824-7B44-8CC3-A70CAFE9CEF4}" destId="{A66A1DFF-FA83-474A-9C87-12F047B67CEA}" srcOrd="0" destOrd="0" presId="urn:microsoft.com/office/officeart/2005/8/layout/process2"/>
    <dgm:cxn modelId="{8BEFC40D-A854-D449-A193-2655D77604E8}" type="presParOf" srcId="{78907B7F-35A9-E349-BBC9-E69F5A8651F1}" destId="{01FD4B1E-7749-7E49-AF3A-EA4BC4C3C786}" srcOrd="6"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50ED22-AB43-47CF-865D-45B0CC817C1B}">
      <dsp:nvSpPr>
        <dsp:cNvPr id="0" name=""/>
        <dsp:cNvSpPr/>
      </dsp:nvSpPr>
      <dsp:spPr>
        <a:xfrm>
          <a:off x="165930" y="453578"/>
          <a:ext cx="654908" cy="654908"/>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92BEB0-E51D-4196-A42B-016E710A90A5}">
      <dsp:nvSpPr>
        <dsp:cNvPr id="0" name=""/>
        <dsp:cNvSpPr/>
      </dsp:nvSpPr>
      <dsp:spPr>
        <a:xfrm>
          <a:off x="303461" y="591109"/>
          <a:ext cx="379847" cy="37984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C47CAC-6979-4144-B567-F9ECC5EAC947}">
      <dsp:nvSpPr>
        <dsp:cNvPr id="0" name=""/>
        <dsp:cNvSpPr/>
      </dsp:nvSpPr>
      <dsp:spPr>
        <a:xfrm>
          <a:off x="961176" y="453578"/>
          <a:ext cx="1543713" cy="654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kern="1200" dirty="0"/>
            <a:t>Superior Continuous Exterior Wall Insulation</a:t>
          </a:r>
        </a:p>
      </dsp:txBody>
      <dsp:txXfrm>
        <a:off x="961176" y="453578"/>
        <a:ext cx="1543713" cy="654908"/>
      </dsp:txXfrm>
    </dsp:sp>
    <dsp:sp modelId="{64C263A7-3360-874E-99A0-F7025D773F94}">
      <dsp:nvSpPr>
        <dsp:cNvPr id="0" name=""/>
        <dsp:cNvSpPr/>
      </dsp:nvSpPr>
      <dsp:spPr>
        <a:xfrm>
          <a:off x="2773870" y="453578"/>
          <a:ext cx="654908" cy="654908"/>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FE1461-3BBD-2D43-B4DD-A34A5343EC06}">
      <dsp:nvSpPr>
        <dsp:cNvPr id="0" name=""/>
        <dsp:cNvSpPr/>
      </dsp:nvSpPr>
      <dsp:spPr>
        <a:xfrm>
          <a:off x="2911401" y="591109"/>
          <a:ext cx="379847" cy="379847"/>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FE13E6-774C-A041-ABFB-367C14FACB45}">
      <dsp:nvSpPr>
        <dsp:cNvPr id="0" name=""/>
        <dsp:cNvSpPr/>
      </dsp:nvSpPr>
      <dsp:spPr>
        <a:xfrm>
          <a:off x="3569116" y="453578"/>
          <a:ext cx="1543713" cy="654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kern="1200" dirty="0"/>
            <a:t>Effective Moisture Management</a:t>
          </a:r>
        </a:p>
      </dsp:txBody>
      <dsp:txXfrm>
        <a:off x="3569116" y="453578"/>
        <a:ext cx="1543713" cy="654908"/>
      </dsp:txXfrm>
    </dsp:sp>
    <dsp:sp modelId="{86CDBED4-8108-4559-8476-AD5871F6190E}">
      <dsp:nvSpPr>
        <dsp:cNvPr id="0" name=""/>
        <dsp:cNvSpPr/>
      </dsp:nvSpPr>
      <dsp:spPr>
        <a:xfrm>
          <a:off x="5381810" y="453578"/>
          <a:ext cx="654908" cy="654908"/>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019378-BFC4-45EA-918C-F7337FAB29F8}">
      <dsp:nvSpPr>
        <dsp:cNvPr id="0" name=""/>
        <dsp:cNvSpPr/>
      </dsp:nvSpPr>
      <dsp:spPr>
        <a:xfrm>
          <a:off x="5519340" y="591109"/>
          <a:ext cx="379847" cy="379847"/>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70A37EC-61F3-4DFC-ABE3-7051B26467DD}">
      <dsp:nvSpPr>
        <dsp:cNvPr id="0" name=""/>
        <dsp:cNvSpPr/>
      </dsp:nvSpPr>
      <dsp:spPr>
        <a:xfrm>
          <a:off x="6177056" y="453578"/>
          <a:ext cx="1543713" cy="654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kern="1200" dirty="0"/>
            <a:t>Improved Performance:  Maintenance, Wind, Noise  </a:t>
          </a:r>
        </a:p>
      </dsp:txBody>
      <dsp:txXfrm>
        <a:off x="6177056" y="453578"/>
        <a:ext cx="1543713" cy="654908"/>
      </dsp:txXfrm>
    </dsp:sp>
    <dsp:sp modelId="{EB1DA8BC-0A2D-4B3A-832C-230B438DD5C5}">
      <dsp:nvSpPr>
        <dsp:cNvPr id="0" name=""/>
        <dsp:cNvSpPr/>
      </dsp:nvSpPr>
      <dsp:spPr>
        <a:xfrm>
          <a:off x="165930" y="1848214"/>
          <a:ext cx="654908" cy="654908"/>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6497D2-E658-4BD4-A118-4214854F0A1A}">
      <dsp:nvSpPr>
        <dsp:cNvPr id="0" name=""/>
        <dsp:cNvSpPr/>
      </dsp:nvSpPr>
      <dsp:spPr>
        <a:xfrm>
          <a:off x="303461" y="1985745"/>
          <a:ext cx="379847" cy="37984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1C83509-F132-439D-A292-C546CE1E2B08}">
      <dsp:nvSpPr>
        <dsp:cNvPr id="0" name=""/>
        <dsp:cNvSpPr/>
      </dsp:nvSpPr>
      <dsp:spPr>
        <a:xfrm>
          <a:off x="961176" y="1848214"/>
          <a:ext cx="1543713" cy="654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kern="1200" dirty="0"/>
            <a:t>Aesthetics: Better, more durable pigments </a:t>
          </a:r>
        </a:p>
      </dsp:txBody>
      <dsp:txXfrm>
        <a:off x="961176" y="1848214"/>
        <a:ext cx="1543713" cy="654908"/>
      </dsp:txXfrm>
    </dsp:sp>
    <dsp:sp modelId="{787B65A0-F9E0-0147-8AEA-DA55EEE39F06}">
      <dsp:nvSpPr>
        <dsp:cNvPr id="0" name=""/>
        <dsp:cNvSpPr/>
      </dsp:nvSpPr>
      <dsp:spPr>
        <a:xfrm>
          <a:off x="2802358" y="1857710"/>
          <a:ext cx="654908" cy="654908"/>
        </a:xfrm>
        <a:prstGeom prst="ellipse">
          <a:avLst/>
        </a:prstGeom>
        <a:solidFill>
          <a:schemeClr val="accent4"/>
        </a:solidFill>
        <a:ln>
          <a:solidFill>
            <a:schemeClr val="accent1"/>
          </a:solidFill>
        </a:ln>
        <a:effectLst/>
      </dsp:spPr>
      <dsp:style>
        <a:lnRef idx="0">
          <a:scrgbClr r="0" g="0" b="0"/>
        </a:lnRef>
        <a:fillRef idx="1">
          <a:scrgbClr r="0" g="0" b="0"/>
        </a:fillRef>
        <a:effectRef idx="0">
          <a:scrgbClr r="0" g="0" b="0"/>
        </a:effectRef>
        <a:fontRef idx="minor"/>
      </dsp:style>
    </dsp:sp>
    <dsp:sp modelId="{B0AA1D50-4220-D046-8143-2D2B58C14D83}">
      <dsp:nvSpPr>
        <dsp:cNvPr id="0" name=""/>
        <dsp:cNvSpPr/>
      </dsp:nvSpPr>
      <dsp:spPr>
        <a:xfrm>
          <a:off x="2911401" y="1985745"/>
          <a:ext cx="379847" cy="379847"/>
        </a:xfrm>
        <a:prstGeom prst="rect">
          <a:avLst/>
        </a:prstGeom>
        <a:blipFill>
          <a:blip xmlns:r="http://schemas.openxmlformats.org/officeDocument/2006/relationships"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DEF8CF-B543-F24C-8CD5-8133403C2245}">
      <dsp:nvSpPr>
        <dsp:cNvPr id="0" name=""/>
        <dsp:cNvSpPr/>
      </dsp:nvSpPr>
      <dsp:spPr>
        <a:xfrm>
          <a:off x="3569116" y="1848214"/>
          <a:ext cx="1543713" cy="654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b="1" kern="1200" dirty="0"/>
            <a:t>Building Code/ ASHRE Compliance </a:t>
          </a:r>
        </a:p>
      </dsp:txBody>
      <dsp:txXfrm>
        <a:off x="3569116" y="1848214"/>
        <a:ext cx="1543713" cy="654908"/>
      </dsp:txXfrm>
    </dsp:sp>
    <dsp:sp modelId="{839DD776-535E-5C47-9179-7D6378F4F2A3}">
      <dsp:nvSpPr>
        <dsp:cNvPr id="0" name=""/>
        <dsp:cNvSpPr/>
      </dsp:nvSpPr>
      <dsp:spPr>
        <a:xfrm>
          <a:off x="5381810" y="1848214"/>
          <a:ext cx="654908" cy="654908"/>
        </a:xfrm>
        <a:prstGeom prst="ellipse">
          <a:avLst/>
        </a:prstGeom>
        <a:solidFill>
          <a:schemeClr val="accent1"/>
        </a:solidFill>
        <a:ln>
          <a:noFill/>
        </a:ln>
        <a:effectLst/>
      </dsp:spPr>
      <dsp:style>
        <a:lnRef idx="0">
          <a:scrgbClr r="0" g="0" b="0"/>
        </a:lnRef>
        <a:fillRef idx="1">
          <a:scrgbClr r="0" g="0" b="0"/>
        </a:fillRef>
        <a:effectRef idx="0">
          <a:scrgbClr r="0" g="0" b="0"/>
        </a:effectRef>
        <a:fontRef idx="minor"/>
      </dsp:style>
    </dsp:sp>
    <dsp:sp modelId="{96DB47FF-44DE-6B4F-8F33-3187C4C83D2D}">
      <dsp:nvSpPr>
        <dsp:cNvPr id="0" name=""/>
        <dsp:cNvSpPr/>
      </dsp:nvSpPr>
      <dsp:spPr>
        <a:xfrm>
          <a:off x="5519340" y="1985745"/>
          <a:ext cx="379847" cy="379847"/>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CB12CA-FFEB-E049-8FA7-81BB5FB23780}">
      <dsp:nvSpPr>
        <dsp:cNvPr id="0" name=""/>
        <dsp:cNvSpPr/>
      </dsp:nvSpPr>
      <dsp:spPr>
        <a:xfrm>
          <a:off x="6177056" y="1848214"/>
          <a:ext cx="1543713" cy="654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kern="1200" dirty="0"/>
            <a:t>Tax &amp; Funding Advantages</a:t>
          </a:r>
        </a:p>
      </dsp:txBody>
      <dsp:txXfrm>
        <a:off x="6177056" y="1848214"/>
        <a:ext cx="1543713" cy="654908"/>
      </dsp:txXfrm>
    </dsp:sp>
    <dsp:sp modelId="{B7146FCA-40A9-494C-B410-4D060203D465}">
      <dsp:nvSpPr>
        <dsp:cNvPr id="0" name=""/>
        <dsp:cNvSpPr/>
      </dsp:nvSpPr>
      <dsp:spPr>
        <a:xfrm>
          <a:off x="165930" y="3242850"/>
          <a:ext cx="654908" cy="654908"/>
        </a:xfrm>
        <a:prstGeom prst="ellipse">
          <a:avLst/>
        </a:prstGeom>
        <a:solidFill>
          <a:schemeClr val="accent4"/>
        </a:solidFill>
        <a:ln>
          <a:noFill/>
        </a:ln>
        <a:effectLst/>
      </dsp:spPr>
      <dsp:style>
        <a:lnRef idx="0">
          <a:scrgbClr r="0" g="0" b="0"/>
        </a:lnRef>
        <a:fillRef idx="1">
          <a:scrgbClr r="0" g="0" b="0"/>
        </a:fillRef>
        <a:effectRef idx="0">
          <a:scrgbClr r="0" g="0" b="0"/>
        </a:effectRef>
        <a:fontRef idx="minor"/>
      </dsp:style>
    </dsp:sp>
    <dsp:sp modelId="{3B215066-FC50-6A40-A5C3-379F7626E6D7}">
      <dsp:nvSpPr>
        <dsp:cNvPr id="0" name=""/>
        <dsp:cNvSpPr/>
      </dsp:nvSpPr>
      <dsp:spPr>
        <a:xfrm>
          <a:off x="303461" y="3380381"/>
          <a:ext cx="379847" cy="379847"/>
        </a:xfrm>
        <a:prstGeom prst="rect">
          <a:avLst/>
        </a:prstGeom>
        <a:blipFill>
          <a:blip xmlns:r="http://schemas.openxmlformats.org/officeDocument/2006/relationships" r:embed="rId10">
            <a:extLst>
              <a:ext uri="{96DAC541-7B7A-43D3-8B79-37D633B846F1}">
                <asvg:svgBlip xmlns:asvg="http://schemas.microsoft.com/office/drawing/2016/SVG/main" r:embed="rId11"/>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EEF7F71-025B-4C49-BF7C-EE2FD6D59F8A}">
      <dsp:nvSpPr>
        <dsp:cNvPr id="0" name=""/>
        <dsp:cNvSpPr/>
      </dsp:nvSpPr>
      <dsp:spPr>
        <a:xfrm>
          <a:off x="961176" y="3242850"/>
          <a:ext cx="1543713" cy="654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100000"/>
            </a:lnSpc>
            <a:spcBef>
              <a:spcPct val="0"/>
            </a:spcBef>
            <a:spcAft>
              <a:spcPct val="35000"/>
            </a:spcAft>
            <a:buNone/>
          </a:pPr>
          <a:r>
            <a:rPr lang="en-US" sz="1100" kern="1200" dirty="0"/>
            <a:t>Environmentally Beneficial</a:t>
          </a:r>
        </a:p>
      </dsp:txBody>
      <dsp:txXfrm>
        <a:off x="961176" y="3242850"/>
        <a:ext cx="1543713" cy="65490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1C8285-836C-A746-BDA1-1C9BAD161012}">
      <dsp:nvSpPr>
        <dsp:cNvPr id="0" name=""/>
        <dsp:cNvSpPr/>
      </dsp:nvSpPr>
      <dsp:spPr>
        <a:xfrm>
          <a:off x="0" y="1763061"/>
          <a:ext cx="2921000" cy="1825624"/>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06654E0-0D32-0243-9350-2B111F3DA58B}">
      <dsp:nvSpPr>
        <dsp:cNvPr id="0" name=""/>
        <dsp:cNvSpPr/>
      </dsp:nvSpPr>
      <dsp:spPr>
        <a:xfrm>
          <a:off x="370967" y="3023107"/>
          <a:ext cx="75946" cy="7594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73E224-7383-574D-9C5F-D0AE759AFA39}">
      <dsp:nvSpPr>
        <dsp:cNvPr id="0" name=""/>
        <dsp:cNvSpPr/>
      </dsp:nvSpPr>
      <dsp:spPr>
        <a:xfrm>
          <a:off x="408940" y="3061080"/>
          <a:ext cx="680593" cy="5276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242" tIns="0" rIns="0" bIns="0" numCol="1" spcCol="1270" anchor="t" anchorCtr="0">
          <a:noAutofit/>
        </a:bodyPr>
        <a:lstStyle/>
        <a:p>
          <a:pPr marL="0" lvl="0" indent="0" algn="l" defTabSz="400050">
            <a:lnSpc>
              <a:spcPct val="90000"/>
            </a:lnSpc>
            <a:spcBef>
              <a:spcPct val="0"/>
            </a:spcBef>
            <a:spcAft>
              <a:spcPct val="35000"/>
            </a:spcAft>
            <a:buNone/>
          </a:pPr>
          <a:r>
            <a:rPr lang="en-US" sz="900" b="0" i="0" kern="1200" baseline="0" dirty="0"/>
            <a:t>Vinyl/PVC is 57% Salt</a:t>
          </a:r>
          <a:endParaRPr lang="en-US" sz="900" kern="1200" dirty="0"/>
        </a:p>
      </dsp:txBody>
      <dsp:txXfrm>
        <a:off x="408940" y="3061080"/>
        <a:ext cx="680593" cy="527605"/>
      </dsp:txXfrm>
    </dsp:sp>
    <dsp:sp modelId="{B0CEA18B-277F-6C43-A43E-4A588074D37B}">
      <dsp:nvSpPr>
        <dsp:cNvPr id="0" name=""/>
        <dsp:cNvSpPr/>
      </dsp:nvSpPr>
      <dsp:spPr>
        <a:xfrm>
          <a:off x="1041336" y="2526902"/>
          <a:ext cx="137287" cy="13728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5CD8E1-EE79-3E46-A014-08EE47992622}">
      <dsp:nvSpPr>
        <dsp:cNvPr id="0" name=""/>
        <dsp:cNvSpPr/>
      </dsp:nvSpPr>
      <dsp:spPr>
        <a:xfrm>
          <a:off x="1109980" y="2595546"/>
          <a:ext cx="701040" cy="993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746" tIns="0" rIns="0" bIns="0" numCol="1" spcCol="1270" anchor="t" anchorCtr="0">
          <a:noAutofit/>
        </a:bodyPr>
        <a:lstStyle/>
        <a:p>
          <a:pPr marL="0" lvl="0" indent="0" algn="l" defTabSz="400050">
            <a:lnSpc>
              <a:spcPct val="90000"/>
            </a:lnSpc>
            <a:spcBef>
              <a:spcPct val="0"/>
            </a:spcBef>
            <a:spcAft>
              <a:spcPct val="35000"/>
            </a:spcAft>
            <a:buNone/>
          </a:pPr>
          <a:r>
            <a:rPr lang="en-US" sz="900" b="0" i="0" kern="1200" baseline="0" dirty="0"/>
            <a:t>GPS 98% Air</a:t>
          </a:r>
          <a:endParaRPr lang="en-US" sz="900" kern="1200" dirty="0"/>
        </a:p>
      </dsp:txBody>
      <dsp:txXfrm>
        <a:off x="1109980" y="2595546"/>
        <a:ext cx="701040" cy="993140"/>
      </dsp:txXfrm>
    </dsp:sp>
    <dsp:sp modelId="{270CF492-CF06-AE45-BB8B-C7F1F1166837}">
      <dsp:nvSpPr>
        <dsp:cNvPr id="0" name=""/>
        <dsp:cNvSpPr/>
      </dsp:nvSpPr>
      <dsp:spPr>
        <a:xfrm>
          <a:off x="1847532" y="2224944"/>
          <a:ext cx="189865" cy="18986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16DD97-A05A-2E4F-9C88-603A32E711C2}">
      <dsp:nvSpPr>
        <dsp:cNvPr id="0" name=""/>
        <dsp:cNvSpPr/>
      </dsp:nvSpPr>
      <dsp:spPr>
        <a:xfrm>
          <a:off x="1942465" y="2319876"/>
          <a:ext cx="701040" cy="12688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606" tIns="0" rIns="0" bIns="0" numCol="1" spcCol="1270" anchor="t" anchorCtr="0">
          <a:noAutofit/>
        </a:bodyPr>
        <a:lstStyle/>
        <a:p>
          <a:pPr marL="0" lvl="0" indent="0" algn="l" defTabSz="400050">
            <a:lnSpc>
              <a:spcPct val="90000"/>
            </a:lnSpc>
            <a:spcBef>
              <a:spcPct val="0"/>
            </a:spcBef>
            <a:spcAft>
              <a:spcPct val="35000"/>
            </a:spcAft>
            <a:buNone/>
          </a:pPr>
          <a:r>
            <a:rPr lang="en-US" sz="900" b="0" i="0" kern="1200" baseline="0" dirty="0"/>
            <a:t>Both 100% Recyclable </a:t>
          </a:r>
          <a:endParaRPr lang="en-US" sz="900" kern="1200" dirty="0"/>
        </a:p>
      </dsp:txBody>
      <dsp:txXfrm>
        <a:off x="1942465" y="2319876"/>
        <a:ext cx="701040" cy="126880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04ECCE-06DC-1848-A14F-17A1385BA5F4}">
      <dsp:nvSpPr>
        <dsp:cNvPr id="0" name=""/>
        <dsp:cNvSpPr/>
      </dsp:nvSpPr>
      <dsp:spPr>
        <a:xfrm>
          <a:off x="3283156" y="1693356"/>
          <a:ext cx="1635000" cy="1712066"/>
        </a:xfrm>
        <a:prstGeom prst="ellipse">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t" anchorCtr="0">
          <a:noAutofit/>
        </a:bodyPr>
        <a:lstStyle/>
        <a:p>
          <a:pPr marL="0" lvl="0" indent="0" algn="ctr" defTabSz="666750">
            <a:lnSpc>
              <a:spcPct val="150000"/>
            </a:lnSpc>
            <a:spcBef>
              <a:spcPct val="0"/>
            </a:spcBef>
            <a:spcAft>
              <a:spcPct val="35000"/>
            </a:spcAft>
            <a:buNone/>
          </a:pPr>
          <a:r>
            <a:rPr lang="en-US" sz="1500" kern="1200" dirty="0">
              <a:solidFill>
                <a:schemeClr val="bg2"/>
              </a:solidFill>
            </a:rPr>
            <a:t>GPS Insulated Vinyl Siding </a:t>
          </a:r>
        </a:p>
      </dsp:txBody>
      <dsp:txXfrm>
        <a:off x="3522596" y="1944082"/>
        <a:ext cx="1156120" cy="1210614"/>
      </dsp:txXfrm>
    </dsp:sp>
    <dsp:sp modelId="{5AB65319-8B85-BC4E-A6D9-D90ECAB89474}">
      <dsp:nvSpPr>
        <dsp:cNvPr id="0" name=""/>
        <dsp:cNvSpPr/>
      </dsp:nvSpPr>
      <dsp:spPr>
        <a:xfrm rot="16200000">
          <a:off x="3961773" y="1222014"/>
          <a:ext cx="277767" cy="43431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4003438" y="1350542"/>
        <a:ext cx="194437" cy="260591"/>
      </dsp:txXfrm>
    </dsp:sp>
    <dsp:sp modelId="{A5B58896-965F-EA40-AEC3-CC004B4583A3}">
      <dsp:nvSpPr>
        <dsp:cNvPr id="0" name=""/>
        <dsp:cNvSpPr/>
      </dsp:nvSpPr>
      <dsp:spPr>
        <a:xfrm>
          <a:off x="3525825" y="19602"/>
          <a:ext cx="1149663" cy="1149663"/>
        </a:xfrm>
        <a:prstGeom prst="ellipse">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2"/>
              </a:solidFill>
            </a:rPr>
            <a:t>Continuous Insulation</a:t>
          </a:r>
        </a:p>
      </dsp:txBody>
      <dsp:txXfrm>
        <a:off x="3694189" y="187966"/>
        <a:ext cx="812935" cy="812935"/>
      </dsp:txXfrm>
    </dsp:sp>
    <dsp:sp modelId="{A2165FF7-9BBD-9A4E-9529-AF1AE8BBBC7F}">
      <dsp:nvSpPr>
        <dsp:cNvPr id="0" name=""/>
        <dsp:cNvSpPr/>
      </dsp:nvSpPr>
      <dsp:spPr>
        <a:xfrm rot="18900000">
          <a:off x="4734274" y="1554447"/>
          <a:ext cx="288331" cy="43431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solidFill>
              <a:sysClr val="windowText" lastClr="000000"/>
            </a:solidFill>
          </a:endParaRPr>
        </a:p>
      </dsp:txBody>
      <dsp:txXfrm>
        <a:off x="4746941" y="1671892"/>
        <a:ext cx="201832" cy="260591"/>
      </dsp:txXfrm>
    </dsp:sp>
    <dsp:sp modelId="{2CA96873-FC09-8244-9DD0-F19772BEAA14}">
      <dsp:nvSpPr>
        <dsp:cNvPr id="0" name=""/>
        <dsp:cNvSpPr/>
      </dsp:nvSpPr>
      <dsp:spPr>
        <a:xfrm>
          <a:off x="4908187" y="592195"/>
          <a:ext cx="1149663" cy="1149663"/>
        </a:xfrm>
        <a:prstGeom prst="ellipse">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2"/>
              </a:solidFill>
            </a:rPr>
            <a:t>Lightweight</a:t>
          </a:r>
        </a:p>
      </dsp:txBody>
      <dsp:txXfrm>
        <a:off x="5076551" y="760559"/>
        <a:ext cx="812935" cy="812935"/>
      </dsp:txXfrm>
    </dsp:sp>
    <dsp:sp modelId="{CAFA0CE4-50A9-8D47-8DBC-E9997A1F8657}">
      <dsp:nvSpPr>
        <dsp:cNvPr id="0" name=""/>
        <dsp:cNvSpPr/>
      </dsp:nvSpPr>
      <dsp:spPr>
        <a:xfrm>
          <a:off x="5041934" y="2332230"/>
          <a:ext cx="298190" cy="43431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5041934" y="2419093"/>
        <a:ext cx="208733" cy="260591"/>
      </dsp:txXfrm>
    </dsp:sp>
    <dsp:sp modelId="{02C5EEE2-B376-074D-8FC1-34D5CC1DF646}">
      <dsp:nvSpPr>
        <dsp:cNvPr id="0" name=""/>
        <dsp:cNvSpPr/>
      </dsp:nvSpPr>
      <dsp:spPr>
        <a:xfrm>
          <a:off x="5480780" y="1974557"/>
          <a:ext cx="1149663" cy="1149663"/>
        </a:xfrm>
        <a:prstGeom prst="ellipse">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2"/>
              </a:solidFill>
            </a:rPr>
            <a:t>Resource Efficient </a:t>
          </a:r>
        </a:p>
      </dsp:txBody>
      <dsp:txXfrm>
        <a:off x="5649144" y="2142921"/>
        <a:ext cx="812935" cy="812935"/>
      </dsp:txXfrm>
    </dsp:sp>
    <dsp:sp modelId="{4EC3BB2E-74D6-C141-851A-58B08DE36F84}">
      <dsp:nvSpPr>
        <dsp:cNvPr id="0" name=""/>
        <dsp:cNvSpPr/>
      </dsp:nvSpPr>
      <dsp:spPr>
        <a:xfrm rot="2700000">
          <a:off x="4734274" y="3110014"/>
          <a:ext cx="288331" cy="43431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solidFill>
              <a:sysClr val="windowText" lastClr="000000"/>
            </a:solidFill>
          </a:endParaRPr>
        </a:p>
      </dsp:txBody>
      <dsp:txXfrm>
        <a:off x="4746941" y="3166295"/>
        <a:ext cx="201832" cy="260591"/>
      </dsp:txXfrm>
    </dsp:sp>
    <dsp:sp modelId="{36A303C7-4D4F-284E-A69C-EBFABE531924}">
      <dsp:nvSpPr>
        <dsp:cNvPr id="0" name=""/>
        <dsp:cNvSpPr/>
      </dsp:nvSpPr>
      <dsp:spPr>
        <a:xfrm>
          <a:off x="4908187" y="3356919"/>
          <a:ext cx="1149663" cy="1149663"/>
        </a:xfrm>
        <a:prstGeom prst="ellipse">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2"/>
              </a:solidFill>
            </a:rPr>
            <a:t>Low maintenance </a:t>
          </a:r>
        </a:p>
      </dsp:txBody>
      <dsp:txXfrm>
        <a:off x="5076551" y="3525283"/>
        <a:ext cx="812935" cy="812935"/>
      </dsp:txXfrm>
    </dsp:sp>
    <dsp:sp modelId="{D3532236-D4C0-BD46-B98F-2C9438F4ED1B}">
      <dsp:nvSpPr>
        <dsp:cNvPr id="0" name=""/>
        <dsp:cNvSpPr/>
      </dsp:nvSpPr>
      <dsp:spPr>
        <a:xfrm rot="5462260">
          <a:off x="3936208" y="3451921"/>
          <a:ext cx="288336" cy="43431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solidFill>
              <a:sysClr val="windowText" lastClr="000000"/>
            </a:solidFill>
          </a:endParaRPr>
        </a:p>
      </dsp:txBody>
      <dsp:txXfrm rot="10800000">
        <a:off x="3980242" y="3495541"/>
        <a:ext cx="201835" cy="260591"/>
      </dsp:txXfrm>
    </dsp:sp>
    <dsp:sp modelId="{36FAD62B-39F1-D14A-A76C-FBA5791D9D52}">
      <dsp:nvSpPr>
        <dsp:cNvPr id="0" name=""/>
        <dsp:cNvSpPr/>
      </dsp:nvSpPr>
      <dsp:spPr>
        <a:xfrm>
          <a:off x="3490060" y="3949115"/>
          <a:ext cx="1149663" cy="1149663"/>
        </a:xfrm>
        <a:prstGeom prst="ellipse">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2"/>
              </a:solidFill>
            </a:rPr>
            <a:t>Resilient</a:t>
          </a:r>
        </a:p>
      </dsp:txBody>
      <dsp:txXfrm>
        <a:off x="3658424" y="4117479"/>
        <a:ext cx="812935" cy="812935"/>
      </dsp:txXfrm>
    </dsp:sp>
    <dsp:sp modelId="{F4416241-BDAB-EB43-864B-2D3EDCED68AD}">
      <dsp:nvSpPr>
        <dsp:cNvPr id="0" name=""/>
        <dsp:cNvSpPr/>
      </dsp:nvSpPr>
      <dsp:spPr>
        <a:xfrm rot="8227197">
          <a:off x="3107159" y="3103336"/>
          <a:ext cx="326218" cy="43431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solidFill>
              <a:sysClr val="windowText" lastClr="000000"/>
            </a:solidFill>
          </a:endParaRPr>
        </a:p>
      </dsp:txBody>
      <dsp:txXfrm rot="10800000">
        <a:off x="3191948" y="3156902"/>
        <a:ext cx="228353" cy="260591"/>
      </dsp:txXfrm>
    </dsp:sp>
    <dsp:sp modelId="{BD848E03-D2B5-5D47-A113-9990B35B36E8}">
      <dsp:nvSpPr>
        <dsp:cNvPr id="0" name=""/>
        <dsp:cNvSpPr/>
      </dsp:nvSpPr>
      <dsp:spPr>
        <a:xfrm>
          <a:off x="2041930" y="3352514"/>
          <a:ext cx="1149663" cy="1149663"/>
        </a:xfrm>
        <a:prstGeom prst="ellipse">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2">
                  <a:lumMod val="95000"/>
                </a:schemeClr>
              </a:solidFill>
            </a:rPr>
            <a:t>Reduces Energy Demand</a:t>
          </a:r>
        </a:p>
      </dsp:txBody>
      <dsp:txXfrm>
        <a:off x="2210294" y="3520878"/>
        <a:ext cx="812935" cy="812935"/>
      </dsp:txXfrm>
    </dsp:sp>
    <dsp:sp modelId="{A03F7377-C63C-0B41-879E-490A0B5C8CFC}">
      <dsp:nvSpPr>
        <dsp:cNvPr id="0" name=""/>
        <dsp:cNvSpPr/>
      </dsp:nvSpPr>
      <dsp:spPr>
        <a:xfrm rot="10800000">
          <a:off x="2861189" y="2332230"/>
          <a:ext cx="298190" cy="43431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rot="10800000">
        <a:off x="2950646" y="2419093"/>
        <a:ext cx="208733" cy="260591"/>
      </dsp:txXfrm>
    </dsp:sp>
    <dsp:sp modelId="{C68F4161-C3A8-BD41-86BE-337A0DD9718A}">
      <dsp:nvSpPr>
        <dsp:cNvPr id="0" name=""/>
        <dsp:cNvSpPr/>
      </dsp:nvSpPr>
      <dsp:spPr>
        <a:xfrm>
          <a:off x="1570870" y="1974557"/>
          <a:ext cx="1149663" cy="1149663"/>
        </a:xfrm>
        <a:prstGeom prst="ellipse">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2">
                  <a:lumMod val="95000"/>
                </a:schemeClr>
              </a:solidFill>
            </a:rPr>
            <a:t>Less Embodied Carbon</a:t>
          </a:r>
        </a:p>
      </dsp:txBody>
      <dsp:txXfrm>
        <a:off x="1739234" y="2142921"/>
        <a:ext cx="812935" cy="812935"/>
      </dsp:txXfrm>
    </dsp:sp>
    <dsp:sp modelId="{33E33266-0876-0C43-917E-174EBF5806EE}">
      <dsp:nvSpPr>
        <dsp:cNvPr id="0" name=""/>
        <dsp:cNvSpPr/>
      </dsp:nvSpPr>
      <dsp:spPr>
        <a:xfrm rot="13500000">
          <a:off x="3178707" y="1554447"/>
          <a:ext cx="288331" cy="434317"/>
        </a:xfrm>
        <a:prstGeom prst="righ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rot="10800000">
        <a:off x="3252539" y="1671892"/>
        <a:ext cx="201832" cy="260591"/>
      </dsp:txXfrm>
    </dsp:sp>
    <dsp:sp modelId="{F09F36E8-9253-5841-BE97-259167C345FA}">
      <dsp:nvSpPr>
        <dsp:cNvPr id="0" name=""/>
        <dsp:cNvSpPr/>
      </dsp:nvSpPr>
      <dsp:spPr>
        <a:xfrm>
          <a:off x="2143463" y="592195"/>
          <a:ext cx="1149663" cy="1149663"/>
        </a:xfrm>
        <a:prstGeom prst="ellipse">
          <a:avLst/>
        </a:prstGeom>
        <a:solidFill>
          <a:schemeClr val="tx1">
            <a:lumMod val="50000"/>
            <a:lumOff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chemeClr val="bg2">
                  <a:lumMod val="95000"/>
                </a:schemeClr>
              </a:solidFill>
            </a:rPr>
            <a:t>Recyclable  </a:t>
          </a:r>
        </a:p>
      </dsp:txBody>
      <dsp:txXfrm>
        <a:off x="2311827" y="760559"/>
        <a:ext cx="812935" cy="8129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A110BC-0963-47BA-A2B4-BBDA648AF15A}">
      <dsp:nvSpPr>
        <dsp:cNvPr id="0" name=""/>
        <dsp:cNvSpPr/>
      </dsp:nvSpPr>
      <dsp:spPr>
        <a:xfrm>
          <a:off x="0" y="58302"/>
          <a:ext cx="7886700" cy="1242935"/>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54699D7-2177-452A-86C3-1B82FD3B2330}">
      <dsp:nvSpPr>
        <dsp:cNvPr id="0" name=""/>
        <dsp:cNvSpPr/>
      </dsp:nvSpPr>
      <dsp:spPr>
        <a:xfrm>
          <a:off x="375988" y="280191"/>
          <a:ext cx="683614" cy="6836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AB826BB-221C-4E31-AFC1-E1FF6541DB9E}">
      <dsp:nvSpPr>
        <dsp:cNvPr id="0" name=""/>
        <dsp:cNvSpPr/>
      </dsp:nvSpPr>
      <dsp:spPr>
        <a:xfrm>
          <a:off x="1377600" y="0"/>
          <a:ext cx="1378366"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933450">
            <a:lnSpc>
              <a:spcPct val="100000"/>
            </a:lnSpc>
            <a:spcBef>
              <a:spcPct val="0"/>
            </a:spcBef>
            <a:spcAft>
              <a:spcPct val="35000"/>
            </a:spcAft>
            <a:buNone/>
          </a:pPr>
          <a:r>
            <a:rPr lang="en-US" sz="2100" kern="1200" dirty="0"/>
            <a:t>Describe </a:t>
          </a:r>
        </a:p>
      </dsp:txBody>
      <dsp:txXfrm>
        <a:off x="1377600" y="0"/>
        <a:ext cx="1378366" cy="1242935"/>
      </dsp:txXfrm>
    </dsp:sp>
    <dsp:sp modelId="{F274FA25-5BF4-48C7-A437-86CC735CC016}">
      <dsp:nvSpPr>
        <dsp:cNvPr id="0" name=""/>
        <dsp:cNvSpPr/>
      </dsp:nvSpPr>
      <dsp:spPr>
        <a:xfrm>
          <a:off x="4984605" y="531"/>
          <a:ext cx="2902094"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577850">
            <a:lnSpc>
              <a:spcPct val="100000"/>
            </a:lnSpc>
            <a:spcBef>
              <a:spcPct val="0"/>
            </a:spcBef>
            <a:spcAft>
              <a:spcPct val="35000"/>
            </a:spcAft>
            <a:buNone/>
          </a:pPr>
          <a:r>
            <a:rPr lang="en-US" sz="1300" kern="1200" dirty="0"/>
            <a:t>The function of both Environmental Product Declarations (EPDs) and Lifecycle Analysis (LCA) in sustainable design. </a:t>
          </a:r>
        </a:p>
      </dsp:txBody>
      <dsp:txXfrm>
        <a:off x="4984605" y="531"/>
        <a:ext cx="2902094" cy="1242935"/>
      </dsp:txXfrm>
    </dsp:sp>
    <dsp:sp modelId="{61505755-89D1-443C-9678-B588B771B42F}">
      <dsp:nvSpPr>
        <dsp:cNvPr id="0" name=""/>
        <dsp:cNvSpPr/>
      </dsp:nvSpPr>
      <dsp:spPr>
        <a:xfrm>
          <a:off x="0" y="1554201"/>
          <a:ext cx="7886700" cy="1242935"/>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B8D188-E1B9-4A48-A88B-3E883A268F35}">
      <dsp:nvSpPr>
        <dsp:cNvPr id="0" name=""/>
        <dsp:cNvSpPr/>
      </dsp:nvSpPr>
      <dsp:spPr>
        <a:xfrm>
          <a:off x="375988" y="1833861"/>
          <a:ext cx="683614" cy="68361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1AC683C-A590-49D0-9753-20729AC8126E}">
      <dsp:nvSpPr>
        <dsp:cNvPr id="0" name=""/>
        <dsp:cNvSpPr/>
      </dsp:nvSpPr>
      <dsp:spPr>
        <a:xfrm>
          <a:off x="1435590" y="1554201"/>
          <a:ext cx="3549015"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933450">
            <a:lnSpc>
              <a:spcPct val="100000"/>
            </a:lnSpc>
            <a:spcBef>
              <a:spcPct val="0"/>
            </a:spcBef>
            <a:spcAft>
              <a:spcPct val="35000"/>
            </a:spcAft>
            <a:buNone/>
          </a:pPr>
          <a:r>
            <a:rPr lang="en-US" sz="2100" kern="1200" dirty="0"/>
            <a:t>Explain</a:t>
          </a:r>
        </a:p>
      </dsp:txBody>
      <dsp:txXfrm>
        <a:off x="1435590" y="1554201"/>
        <a:ext cx="3549015" cy="1242935"/>
      </dsp:txXfrm>
    </dsp:sp>
    <dsp:sp modelId="{02BC3CB3-CAC3-4B9C-B704-13563AAA91B6}">
      <dsp:nvSpPr>
        <dsp:cNvPr id="0" name=""/>
        <dsp:cNvSpPr/>
      </dsp:nvSpPr>
      <dsp:spPr>
        <a:xfrm>
          <a:off x="4984605" y="1554201"/>
          <a:ext cx="2902094"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577850">
            <a:lnSpc>
              <a:spcPct val="100000"/>
            </a:lnSpc>
            <a:spcBef>
              <a:spcPct val="0"/>
            </a:spcBef>
            <a:spcAft>
              <a:spcPct val="35000"/>
            </a:spcAft>
            <a:buNone/>
          </a:pPr>
          <a:r>
            <a:rPr lang="en-US" sz="1300" kern="1200" dirty="0"/>
            <a:t>Why and how EPDs are being used to measure and track carbon in public projects, green building programs, carbon calculators and design software. </a:t>
          </a:r>
        </a:p>
      </dsp:txBody>
      <dsp:txXfrm>
        <a:off x="4984605" y="1554201"/>
        <a:ext cx="2902094" cy="1242935"/>
      </dsp:txXfrm>
    </dsp:sp>
    <dsp:sp modelId="{8EFE74B3-84A4-D046-8F3A-12CD06D7027B}">
      <dsp:nvSpPr>
        <dsp:cNvPr id="0" name=""/>
        <dsp:cNvSpPr/>
      </dsp:nvSpPr>
      <dsp:spPr>
        <a:xfrm>
          <a:off x="0" y="3014178"/>
          <a:ext cx="7886700" cy="1242935"/>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F84B3D9-C862-5944-A0F2-FD2C786C3912}">
      <dsp:nvSpPr>
        <dsp:cNvPr id="0" name=""/>
        <dsp:cNvSpPr/>
      </dsp:nvSpPr>
      <dsp:spPr>
        <a:xfrm>
          <a:off x="375988" y="3387531"/>
          <a:ext cx="683614" cy="683614"/>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C0F76C-0098-F047-A6AF-4E16FC91D5AB}">
      <dsp:nvSpPr>
        <dsp:cNvPr id="0" name=""/>
        <dsp:cNvSpPr/>
      </dsp:nvSpPr>
      <dsp:spPr>
        <a:xfrm>
          <a:off x="1435590" y="3107870"/>
          <a:ext cx="3549015"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933450">
            <a:lnSpc>
              <a:spcPct val="100000"/>
            </a:lnSpc>
            <a:spcBef>
              <a:spcPct val="0"/>
            </a:spcBef>
            <a:spcAft>
              <a:spcPct val="35000"/>
            </a:spcAft>
            <a:buNone/>
          </a:pPr>
          <a:r>
            <a:rPr lang="en-US" sz="2100" kern="1200" dirty="0"/>
            <a:t>Use</a:t>
          </a:r>
        </a:p>
      </dsp:txBody>
      <dsp:txXfrm>
        <a:off x="1435590" y="3107870"/>
        <a:ext cx="3549015" cy="1242935"/>
      </dsp:txXfrm>
    </dsp:sp>
    <dsp:sp modelId="{C12C1FFF-A625-2841-A77B-342A3CEE94CC}">
      <dsp:nvSpPr>
        <dsp:cNvPr id="0" name=""/>
        <dsp:cNvSpPr/>
      </dsp:nvSpPr>
      <dsp:spPr>
        <a:xfrm>
          <a:off x="4984605" y="3107870"/>
          <a:ext cx="2902094"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577850">
            <a:lnSpc>
              <a:spcPct val="100000"/>
            </a:lnSpc>
            <a:spcBef>
              <a:spcPct val="0"/>
            </a:spcBef>
            <a:spcAft>
              <a:spcPct val="35000"/>
            </a:spcAft>
            <a:buNone/>
          </a:pPr>
          <a:r>
            <a:rPr lang="en-US" sz="1300" kern="1200" dirty="0"/>
            <a:t>EPDs to determine the environmental benefits of the GPS-insulated vinyl siding system. </a:t>
          </a:r>
        </a:p>
      </dsp:txBody>
      <dsp:txXfrm>
        <a:off x="4984605" y="3107870"/>
        <a:ext cx="2902094" cy="12429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5C90AA-81F2-EB43-BD4C-48346956A84C}">
      <dsp:nvSpPr>
        <dsp:cNvPr id="0" name=""/>
        <dsp:cNvSpPr/>
      </dsp:nvSpPr>
      <dsp:spPr>
        <a:xfrm>
          <a:off x="0" y="0"/>
          <a:ext cx="4377057" cy="4377057"/>
        </a:xfrm>
        <a:prstGeom prst="pie">
          <a:avLst>
            <a:gd name="adj1" fmla="val 5400000"/>
            <a:gd name="adj2" fmla="val 162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4937358D-AE4C-9948-85EF-25674570090A}">
      <dsp:nvSpPr>
        <dsp:cNvPr id="0" name=""/>
        <dsp:cNvSpPr/>
      </dsp:nvSpPr>
      <dsp:spPr>
        <a:xfrm>
          <a:off x="2188528" y="0"/>
          <a:ext cx="5526049" cy="437705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Allows for </a:t>
          </a:r>
          <a:r>
            <a:rPr lang="en-US" sz="2000" i="0" kern="1200" dirty="0"/>
            <a:t>comparisons with products performing same function. </a:t>
          </a:r>
        </a:p>
      </dsp:txBody>
      <dsp:txXfrm>
        <a:off x="2188528" y="0"/>
        <a:ext cx="5526049" cy="700329"/>
      </dsp:txXfrm>
    </dsp:sp>
    <dsp:sp modelId="{3DEE836B-4440-5349-A308-420FCC43989B}">
      <dsp:nvSpPr>
        <dsp:cNvPr id="0" name=""/>
        <dsp:cNvSpPr/>
      </dsp:nvSpPr>
      <dsp:spPr>
        <a:xfrm>
          <a:off x="459591" y="700329"/>
          <a:ext cx="3457875" cy="3457875"/>
        </a:xfrm>
        <a:prstGeom prst="pie">
          <a:avLst>
            <a:gd name="adj1" fmla="val 5400000"/>
            <a:gd name="adj2" fmla="val 162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E4B11DB-B714-334C-8DE5-912B18C9ED4D}">
      <dsp:nvSpPr>
        <dsp:cNvPr id="0" name=""/>
        <dsp:cNvSpPr/>
      </dsp:nvSpPr>
      <dsp:spPr>
        <a:xfrm>
          <a:off x="2188528" y="700675"/>
          <a:ext cx="5526049" cy="3457875"/>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First used in Sweden in 1997</a:t>
          </a:r>
        </a:p>
      </dsp:txBody>
      <dsp:txXfrm>
        <a:off x="2188528" y="700675"/>
        <a:ext cx="5526049" cy="700329"/>
      </dsp:txXfrm>
    </dsp:sp>
    <dsp:sp modelId="{1FA02AFB-18E8-7F41-9C74-BD60326890A1}">
      <dsp:nvSpPr>
        <dsp:cNvPr id="0" name=""/>
        <dsp:cNvSpPr/>
      </dsp:nvSpPr>
      <dsp:spPr>
        <a:xfrm>
          <a:off x="919182" y="1400658"/>
          <a:ext cx="2538693" cy="2538693"/>
        </a:xfrm>
        <a:prstGeom prst="pie">
          <a:avLst>
            <a:gd name="adj1" fmla="val 5400000"/>
            <a:gd name="adj2" fmla="val 162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8FB7463-05BC-0E40-9BDE-8F99CF7699CF}">
      <dsp:nvSpPr>
        <dsp:cNvPr id="0" name=""/>
        <dsp:cNvSpPr/>
      </dsp:nvSpPr>
      <dsp:spPr>
        <a:xfrm>
          <a:off x="2188528" y="1400658"/>
          <a:ext cx="5526049" cy="2538693"/>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Function as abbreviated </a:t>
          </a:r>
          <a:r>
            <a:rPr lang="en-US" sz="2000" b="0" i="0" u="none" strike="noStrike" kern="1200" dirty="0">
              <a:solidFill>
                <a:srgbClr val="2E2E2E"/>
              </a:solidFill>
              <a:effectLst/>
              <a:latin typeface="nexussans"/>
            </a:rPr>
            <a:t>Life Cycle Analysis (LCAs)</a:t>
          </a:r>
          <a:endParaRPr lang="en-US" sz="2000" kern="1200" dirty="0"/>
        </a:p>
      </dsp:txBody>
      <dsp:txXfrm>
        <a:off x="2188528" y="1400658"/>
        <a:ext cx="5526049" cy="700329"/>
      </dsp:txXfrm>
    </dsp:sp>
    <dsp:sp modelId="{D78BF4C4-BD9B-5740-A5AC-5F67D8175BE8}">
      <dsp:nvSpPr>
        <dsp:cNvPr id="0" name=""/>
        <dsp:cNvSpPr/>
      </dsp:nvSpPr>
      <dsp:spPr>
        <a:xfrm>
          <a:off x="1378773" y="2100987"/>
          <a:ext cx="1619511" cy="1619511"/>
        </a:xfrm>
        <a:prstGeom prst="pie">
          <a:avLst>
            <a:gd name="adj1" fmla="val 5400000"/>
            <a:gd name="adj2" fmla="val 162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0D01EA5-4291-304C-8737-6F964C74803A}">
      <dsp:nvSpPr>
        <dsp:cNvPr id="0" name=""/>
        <dsp:cNvSpPr/>
      </dsp:nvSpPr>
      <dsp:spPr>
        <a:xfrm>
          <a:off x="2188528" y="2100987"/>
          <a:ext cx="5526049" cy="1619511"/>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u="none" kern="1200" dirty="0"/>
            <a:t>Can be industry-wide, product-specific, supply chain-specific, facility-specific.  </a:t>
          </a:r>
          <a:endParaRPr lang="en-US" sz="2000" b="0" kern="1200" dirty="0"/>
        </a:p>
      </dsp:txBody>
      <dsp:txXfrm>
        <a:off x="2188528" y="2100987"/>
        <a:ext cx="5526049" cy="700329"/>
      </dsp:txXfrm>
    </dsp:sp>
    <dsp:sp modelId="{D570A07E-2DDF-9848-BA4F-3ABF33A3F697}">
      <dsp:nvSpPr>
        <dsp:cNvPr id="0" name=""/>
        <dsp:cNvSpPr/>
      </dsp:nvSpPr>
      <dsp:spPr>
        <a:xfrm>
          <a:off x="1838364" y="2801317"/>
          <a:ext cx="700329" cy="700329"/>
        </a:xfrm>
        <a:prstGeom prst="pie">
          <a:avLst>
            <a:gd name="adj1" fmla="val 5400000"/>
            <a:gd name="adj2" fmla="val 1620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E365EE7B-1ACF-2541-90B5-BBE0B4ADE950}">
      <dsp:nvSpPr>
        <dsp:cNvPr id="0" name=""/>
        <dsp:cNvSpPr/>
      </dsp:nvSpPr>
      <dsp:spPr>
        <a:xfrm>
          <a:off x="2188528" y="2801317"/>
          <a:ext cx="5526049" cy="700329"/>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Vary by scope according to Life Cycle ranges.</a:t>
          </a:r>
        </a:p>
      </dsp:txBody>
      <dsp:txXfrm>
        <a:off x="2188528" y="2801317"/>
        <a:ext cx="5526049" cy="70032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B2D1C1-2436-8944-BCC6-8DC73388778A}">
      <dsp:nvSpPr>
        <dsp:cNvPr id="0" name=""/>
        <dsp:cNvSpPr/>
      </dsp:nvSpPr>
      <dsp:spPr>
        <a:xfrm>
          <a:off x="0" y="765"/>
          <a:ext cx="47227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0D6D88-3770-AD45-AA74-BD9CEE96D2AC}">
      <dsp:nvSpPr>
        <dsp:cNvPr id="0" name=""/>
        <dsp:cNvSpPr/>
      </dsp:nvSpPr>
      <dsp:spPr>
        <a:xfrm>
          <a:off x="0" y="765"/>
          <a:ext cx="4722758" cy="522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0" i="0" kern="1200" dirty="0"/>
            <a:t>PCR: product category rules</a:t>
          </a:r>
          <a:endParaRPr lang="en-US" sz="1900" kern="1200" dirty="0"/>
        </a:p>
      </dsp:txBody>
      <dsp:txXfrm>
        <a:off x="0" y="765"/>
        <a:ext cx="4722758" cy="522118"/>
      </dsp:txXfrm>
    </dsp:sp>
    <dsp:sp modelId="{5BA504BD-4B63-7E48-A450-0537DA355482}">
      <dsp:nvSpPr>
        <dsp:cNvPr id="0" name=""/>
        <dsp:cNvSpPr/>
      </dsp:nvSpPr>
      <dsp:spPr>
        <a:xfrm>
          <a:off x="0" y="522884"/>
          <a:ext cx="47227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584F614-8267-2343-B53C-1F60D089972E}">
      <dsp:nvSpPr>
        <dsp:cNvPr id="0" name=""/>
        <dsp:cNvSpPr/>
      </dsp:nvSpPr>
      <dsp:spPr>
        <a:xfrm>
          <a:off x="0" y="522884"/>
          <a:ext cx="4722758" cy="522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t>LCA: Life Cycle Analysis</a:t>
          </a:r>
        </a:p>
      </dsp:txBody>
      <dsp:txXfrm>
        <a:off x="0" y="522884"/>
        <a:ext cx="4722758" cy="522118"/>
      </dsp:txXfrm>
    </dsp:sp>
    <dsp:sp modelId="{288F30C0-365B-A643-8229-CA1B2E9C3F8C}">
      <dsp:nvSpPr>
        <dsp:cNvPr id="0" name=""/>
        <dsp:cNvSpPr/>
      </dsp:nvSpPr>
      <dsp:spPr>
        <a:xfrm>
          <a:off x="0" y="1045003"/>
          <a:ext cx="4722758"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4154EA-5E04-FF4D-BA35-97D27EB3B683}">
      <dsp:nvSpPr>
        <dsp:cNvPr id="0" name=""/>
        <dsp:cNvSpPr/>
      </dsp:nvSpPr>
      <dsp:spPr>
        <a:xfrm>
          <a:off x="0" y="1045003"/>
          <a:ext cx="4722758" cy="522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t>EPD: Environmental  Product Declaration </a:t>
          </a:r>
        </a:p>
      </dsp:txBody>
      <dsp:txXfrm>
        <a:off x="0" y="1045003"/>
        <a:ext cx="4722758" cy="52211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82FA47-D36B-EC47-A0EB-4EEBA52A926B}">
      <dsp:nvSpPr>
        <dsp:cNvPr id="0" name=""/>
        <dsp:cNvSpPr/>
      </dsp:nvSpPr>
      <dsp:spPr>
        <a:xfrm>
          <a:off x="2073953" y="5149"/>
          <a:ext cx="1294974" cy="32374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dirty="0"/>
            <a:t>3</a:t>
          </a:r>
          <a:r>
            <a:rPr lang="en-US" sz="1050" kern="1200" baseline="30000" dirty="0"/>
            <a:t>rd</a:t>
          </a:r>
          <a:r>
            <a:rPr lang="en-US" sz="1050" kern="1200" dirty="0"/>
            <a:t> Party Provider</a:t>
          </a:r>
        </a:p>
      </dsp:txBody>
      <dsp:txXfrm>
        <a:off x="2083435" y="14631"/>
        <a:ext cx="1276010" cy="304779"/>
      </dsp:txXfrm>
    </dsp:sp>
    <dsp:sp modelId="{46320D3F-3BFE-FF42-98C2-3879CD7D8FEF}">
      <dsp:nvSpPr>
        <dsp:cNvPr id="0" name=""/>
        <dsp:cNvSpPr/>
      </dsp:nvSpPr>
      <dsp:spPr>
        <a:xfrm rot="5220244">
          <a:off x="2705585" y="354825"/>
          <a:ext cx="54334" cy="56655"/>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406F155-E166-5349-B51F-E3D5E7C4B56C}">
      <dsp:nvSpPr>
        <dsp:cNvPr id="0" name=""/>
        <dsp:cNvSpPr/>
      </dsp:nvSpPr>
      <dsp:spPr>
        <a:xfrm>
          <a:off x="2096576" y="437413"/>
          <a:ext cx="1294974" cy="32374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0" kern="1200" dirty="0"/>
            <a:t>NSF International </a:t>
          </a:r>
          <a:endParaRPr lang="en-US" sz="1050" kern="1200" dirty="0"/>
        </a:p>
      </dsp:txBody>
      <dsp:txXfrm>
        <a:off x="2106058" y="446895"/>
        <a:ext cx="1276010" cy="304779"/>
      </dsp:txXfrm>
    </dsp:sp>
    <dsp:sp modelId="{7532B81F-2D5E-9247-AE35-380BCDA875F5}">
      <dsp:nvSpPr>
        <dsp:cNvPr id="0" name=""/>
        <dsp:cNvSpPr/>
      </dsp:nvSpPr>
      <dsp:spPr>
        <a:xfrm rot="5400000">
          <a:off x="2715736" y="789484"/>
          <a:ext cx="56655" cy="56655"/>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5F6D497-C3E1-6042-937B-E63C05851CBB}">
      <dsp:nvSpPr>
        <dsp:cNvPr id="0" name=""/>
        <dsp:cNvSpPr/>
      </dsp:nvSpPr>
      <dsp:spPr>
        <a:xfrm>
          <a:off x="2096576" y="874467"/>
          <a:ext cx="1294974" cy="32374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0" kern="1200" dirty="0"/>
            <a:t>The Sustainability Consortium </a:t>
          </a:r>
          <a:endParaRPr lang="en-US" sz="1050" kern="1200" dirty="0"/>
        </a:p>
      </dsp:txBody>
      <dsp:txXfrm>
        <a:off x="2106058" y="883949"/>
        <a:ext cx="1276010" cy="304779"/>
      </dsp:txXfrm>
    </dsp:sp>
    <dsp:sp modelId="{F41B34B0-595F-8049-AD91-EA3B36A29227}">
      <dsp:nvSpPr>
        <dsp:cNvPr id="0" name=""/>
        <dsp:cNvSpPr/>
      </dsp:nvSpPr>
      <dsp:spPr>
        <a:xfrm rot="5400000">
          <a:off x="2715736" y="1226538"/>
          <a:ext cx="56655" cy="56655"/>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AEC3E8D-E734-2948-90F5-2952E2F0991E}">
      <dsp:nvSpPr>
        <dsp:cNvPr id="0" name=""/>
        <dsp:cNvSpPr/>
      </dsp:nvSpPr>
      <dsp:spPr>
        <a:xfrm>
          <a:off x="2096576" y="1311521"/>
          <a:ext cx="1294974" cy="32374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0" kern="1200" dirty="0"/>
            <a:t>UL Environment </a:t>
          </a:r>
          <a:endParaRPr lang="en-US" sz="1050" kern="1200" dirty="0"/>
        </a:p>
      </dsp:txBody>
      <dsp:txXfrm>
        <a:off x="2106058" y="1321003"/>
        <a:ext cx="1276010" cy="304779"/>
      </dsp:txXfrm>
    </dsp:sp>
    <dsp:sp modelId="{D7334019-C9A2-5F4D-B355-F07AB877F728}">
      <dsp:nvSpPr>
        <dsp:cNvPr id="0" name=""/>
        <dsp:cNvSpPr/>
      </dsp:nvSpPr>
      <dsp:spPr>
        <a:xfrm rot="5400000">
          <a:off x="2715736" y="1663592"/>
          <a:ext cx="56655" cy="56655"/>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6D054DD-E2CD-0440-9337-62F99315F537}">
      <dsp:nvSpPr>
        <dsp:cNvPr id="0" name=""/>
        <dsp:cNvSpPr/>
      </dsp:nvSpPr>
      <dsp:spPr>
        <a:xfrm>
          <a:off x="2096576" y="1748575"/>
          <a:ext cx="1294974" cy="32374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0" kern="1200" dirty="0"/>
            <a:t>ASTM International</a:t>
          </a:r>
          <a:endParaRPr lang="en-US" sz="1050" kern="1200" dirty="0"/>
        </a:p>
      </dsp:txBody>
      <dsp:txXfrm>
        <a:off x="2106058" y="1758057"/>
        <a:ext cx="1276010" cy="304779"/>
      </dsp:txXfrm>
    </dsp:sp>
    <dsp:sp modelId="{85FBC2AE-7EDD-8444-851A-F0EB90345941}">
      <dsp:nvSpPr>
        <dsp:cNvPr id="0" name=""/>
        <dsp:cNvSpPr/>
      </dsp:nvSpPr>
      <dsp:spPr>
        <a:xfrm rot="5400000">
          <a:off x="2715736" y="2100646"/>
          <a:ext cx="56655" cy="56655"/>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351A09A-BB41-5548-BD9D-5AA63B2BC5BC}">
      <dsp:nvSpPr>
        <dsp:cNvPr id="0" name=""/>
        <dsp:cNvSpPr/>
      </dsp:nvSpPr>
      <dsp:spPr>
        <a:xfrm>
          <a:off x="2096576" y="2185628"/>
          <a:ext cx="1294974" cy="32374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0" kern="1200" dirty="0"/>
            <a:t>Carbon Leadership Forum </a:t>
          </a:r>
          <a:endParaRPr lang="en-US" sz="1050" kern="1200" dirty="0"/>
        </a:p>
      </dsp:txBody>
      <dsp:txXfrm>
        <a:off x="2106058" y="2195110"/>
        <a:ext cx="1276010" cy="304779"/>
      </dsp:txXfrm>
    </dsp:sp>
    <dsp:sp modelId="{037B7655-ABED-2643-A74D-2C325924F2F2}">
      <dsp:nvSpPr>
        <dsp:cNvPr id="0" name=""/>
        <dsp:cNvSpPr/>
      </dsp:nvSpPr>
      <dsp:spPr>
        <a:xfrm rot="5400000">
          <a:off x="2715736" y="2537700"/>
          <a:ext cx="56655" cy="56655"/>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31556AC-E95A-4641-8F3C-3FF7C5EF320D}">
      <dsp:nvSpPr>
        <dsp:cNvPr id="0" name=""/>
        <dsp:cNvSpPr/>
      </dsp:nvSpPr>
      <dsp:spPr>
        <a:xfrm>
          <a:off x="2096576" y="2622682"/>
          <a:ext cx="1294974" cy="323743"/>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0" kern="1200" dirty="0"/>
            <a:t>ICC Evaluation Services </a:t>
          </a:r>
          <a:endParaRPr lang="en-US" sz="1050" kern="1200" dirty="0"/>
        </a:p>
      </dsp:txBody>
      <dsp:txXfrm>
        <a:off x="2106058" y="2632164"/>
        <a:ext cx="1276010" cy="30477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4E2ECA-9A0A-4114-B7FD-A2E10990C557}">
      <dsp:nvSpPr>
        <dsp:cNvPr id="0" name=""/>
        <dsp:cNvSpPr/>
      </dsp:nvSpPr>
      <dsp:spPr>
        <a:xfrm>
          <a:off x="0" y="0"/>
          <a:ext cx="6950033" cy="12708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81E4A6B-5E27-4322-8405-1DFDC359EBED}">
      <dsp:nvSpPr>
        <dsp:cNvPr id="0" name=""/>
        <dsp:cNvSpPr/>
      </dsp:nvSpPr>
      <dsp:spPr>
        <a:xfrm>
          <a:off x="384418" y="286474"/>
          <a:ext cx="698943" cy="69894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53ED514-554F-4388-B526-5F9463A56372}">
      <dsp:nvSpPr>
        <dsp:cNvPr id="0" name=""/>
        <dsp:cNvSpPr/>
      </dsp:nvSpPr>
      <dsp:spPr>
        <a:xfrm>
          <a:off x="1467781" y="543"/>
          <a:ext cx="5482251" cy="127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4494" tIns="134494" rIns="134494" bIns="134494" numCol="1" spcCol="1270" anchor="ctr" anchorCtr="0">
          <a:noAutofit/>
        </a:bodyPr>
        <a:lstStyle/>
        <a:p>
          <a:pPr marL="0" lvl="0" indent="0" algn="l" defTabSz="977900">
            <a:lnSpc>
              <a:spcPct val="100000"/>
            </a:lnSpc>
            <a:spcBef>
              <a:spcPct val="0"/>
            </a:spcBef>
            <a:spcAft>
              <a:spcPct val="35000"/>
            </a:spcAft>
            <a:buNone/>
          </a:pPr>
          <a:r>
            <a:rPr lang="en-US" sz="2200" b="1" kern="1200" dirty="0">
              <a:solidFill>
                <a:schemeClr val="accent1"/>
              </a:solidFill>
            </a:rPr>
            <a:t>Verify Sustainability Claims</a:t>
          </a:r>
        </a:p>
      </dsp:txBody>
      <dsp:txXfrm>
        <a:off x="1467781" y="543"/>
        <a:ext cx="5482251" cy="1270806"/>
      </dsp:txXfrm>
    </dsp:sp>
    <dsp:sp modelId="{1A5EA11C-6336-4D3D-97FF-B020A0815782}">
      <dsp:nvSpPr>
        <dsp:cNvPr id="0" name=""/>
        <dsp:cNvSpPr/>
      </dsp:nvSpPr>
      <dsp:spPr>
        <a:xfrm>
          <a:off x="0" y="1589050"/>
          <a:ext cx="6950033" cy="12708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D61F9F1-3430-4962-A87D-89DDB4ECF890}">
      <dsp:nvSpPr>
        <dsp:cNvPr id="0" name=""/>
        <dsp:cNvSpPr/>
      </dsp:nvSpPr>
      <dsp:spPr>
        <a:xfrm>
          <a:off x="384418" y="1874982"/>
          <a:ext cx="698943" cy="69894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EDC02F7-73A8-4D4D-A4C5-F81FC39DB0D6}">
      <dsp:nvSpPr>
        <dsp:cNvPr id="0" name=""/>
        <dsp:cNvSpPr/>
      </dsp:nvSpPr>
      <dsp:spPr>
        <a:xfrm>
          <a:off x="1467781" y="1589050"/>
          <a:ext cx="5482251" cy="127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4494" tIns="134494" rIns="134494" bIns="134494" numCol="1" spcCol="1270" anchor="ctr" anchorCtr="0">
          <a:noAutofit/>
        </a:bodyPr>
        <a:lstStyle/>
        <a:p>
          <a:pPr marL="0" lvl="0" indent="0" algn="l" defTabSz="977900">
            <a:lnSpc>
              <a:spcPct val="100000"/>
            </a:lnSpc>
            <a:spcBef>
              <a:spcPct val="0"/>
            </a:spcBef>
            <a:spcAft>
              <a:spcPct val="35000"/>
            </a:spcAft>
            <a:buNone/>
          </a:pPr>
          <a:r>
            <a:rPr lang="en-US" sz="2200" b="1" kern="1200" dirty="0">
              <a:solidFill>
                <a:schemeClr val="accent1"/>
              </a:solidFill>
            </a:rPr>
            <a:t>Required by LEED</a:t>
          </a:r>
          <a:r>
            <a:rPr lang="en-US" sz="2200" b="1" kern="1200" baseline="30000" dirty="0">
              <a:solidFill>
                <a:schemeClr val="accent1"/>
              </a:solidFill>
            </a:rPr>
            <a:t>® </a:t>
          </a:r>
          <a:r>
            <a:rPr lang="en-US" sz="2200" b="1" kern="1200" dirty="0">
              <a:solidFill>
                <a:schemeClr val="accent1"/>
              </a:solidFill>
            </a:rPr>
            <a:t>, BREEAM</a:t>
          </a:r>
          <a:r>
            <a:rPr lang="en-US" sz="2200" b="1" kern="1200" baseline="30000" dirty="0">
              <a:solidFill>
                <a:schemeClr val="accent1"/>
              </a:solidFill>
            </a:rPr>
            <a:t>®</a:t>
          </a:r>
          <a:r>
            <a:rPr lang="en-US" sz="2200" b="1" kern="1200" dirty="0">
              <a:solidFill>
                <a:schemeClr val="accent1"/>
              </a:solidFill>
            </a:rPr>
            <a:t>, GreenStar</a:t>
          </a:r>
          <a:r>
            <a:rPr lang="en-US" sz="2200" b="1" kern="1200" baseline="30000" dirty="0">
              <a:solidFill>
                <a:schemeClr val="accent1"/>
              </a:solidFill>
            </a:rPr>
            <a:t>®</a:t>
          </a:r>
          <a:r>
            <a:rPr lang="en-US" sz="2200" b="1" kern="1200" baseline="-25000" dirty="0">
              <a:solidFill>
                <a:schemeClr val="accent1"/>
              </a:solidFill>
            </a:rPr>
            <a:t>, </a:t>
          </a:r>
          <a:r>
            <a:rPr lang="en-US" sz="2200" b="1" kern="1200" baseline="0" dirty="0">
              <a:solidFill>
                <a:schemeClr val="accent1"/>
              </a:solidFill>
            </a:rPr>
            <a:t>National Green Building Standard and more</a:t>
          </a:r>
          <a:endParaRPr lang="en-US" sz="2200" b="1" kern="1200" baseline="-25000" dirty="0">
            <a:solidFill>
              <a:schemeClr val="accent1"/>
            </a:solidFill>
          </a:endParaRPr>
        </a:p>
      </dsp:txBody>
      <dsp:txXfrm>
        <a:off x="1467781" y="1589050"/>
        <a:ext cx="5482251" cy="1270806"/>
      </dsp:txXfrm>
    </dsp:sp>
    <dsp:sp modelId="{D4D53E28-013D-411A-94B5-1275936E575C}">
      <dsp:nvSpPr>
        <dsp:cNvPr id="0" name=""/>
        <dsp:cNvSpPr/>
      </dsp:nvSpPr>
      <dsp:spPr>
        <a:xfrm>
          <a:off x="0" y="3177558"/>
          <a:ext cx="6950033" cy="12708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3F91D7-0C93-419C-B8BE-6B1450D96E9F}">
      <dsp:nvSpPr>
        <dsp:cNvPr id="0" name=""/>
        <dsp:cNvSpPr/>
      </dsp:nvSpPr>
      <dsp:spPr>
        <a:xfrm>
          <a:off x="384418" y="3463490"/>
          <a:ext cx="698943" cy="698943"/>
        </a:xfrm>
        <a:prstGeom prst="rect">
          <a:avLst/>
        </a:prstGeom>
        <a:solidFill>
          <a:schemeClr val="accent2">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44E8B3-56D8-458A-B03F-F3B97DB18A3C}">
      <dsp:nvSpPr>
        <dsp:cNvPr id="0" name=""/>
        <dsp:cNvSpPr/>
      </dsp:nvSpPr>
      <dsp:spPr>
        <a:xfrm>
          <a:off x="1467781" y="3177558"/>
          <a:ext cx="5482251" cy="12708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4494" tIns="134494" rIns="134494" bIns="134494" numCol="1" spcCol="1270" anchor="ctr" anchorCtr="0">
          <a:noAutofit/>
        </a:bodyPr>
        <a:lstStyle/>
        <a:p>
          <a:pPr marL="0" lvl="0" indent="0" algn="l" defTabSz="977900">
            <a:lnSpc>
              <a:spcPct val="100000"/>
            </a:lnSpc>
            <a:spcBef>
              <a:spcPct val="0"/>
            </a:spcBef>
            <a:spcAft>
              <a:spcPct val="35000"/>
            </a:spcAft>
            <a:buNone/>
          </a:pPr>
          <a:r>
            <a:rPr lang="en-US" sz="2200" b="1" kern="1200" dirty="0">
              <a:solidFill>
                <a:schemeClr val="accent1"/>
              </a:solidFill>
            </a:rPr>
            <a:t>Required by Many States, Municipalities i.e., CA, NYS, City of Portland</a:t>
          </a:r>
        </a:p>
      </dsp:txBody>
      <dsp:txXfrm>
        <a:off x="1467781" y="3177558"/>
        <a:ext cx="5482251" cy="127080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717D3E-A5FF-E54C-887E-7214EA0B445E}">
      <dsp:nvSpPr>
        <dsp:cNvPr id="0" name=""/>
        <dsp:cNvSpPr/>
      </dsp:nvSpPr>
      <dsp:spPr>
        <a:xfrm>
          <a:off x="1981431" y="3906398"/>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EB9999DE-F04A-4747-9BDE-BDBD04B8CDDD}">
      <dsp:nvSpPr>
        <dsp:cNvPr id="0" name=""/>
        <dsp:cNvSpPr/>
      </dsp:nvSpPr>
      <dsp:spPr>
        <a:xfrm>
          <a:off x="1752559" y="4016599"/>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84133DDE-DDFD-044D-9644-8FC9B259D45B}">
      <dsp:nvSpPr>
        <dsp:cNvPr id="0" name=""/>
        <dsp:cNvSpPr/>
      </dsp:nvSpPr>
      <dsp:spPr>
        <a:xfrm>
          <a:off x="1513182" y="4103646"/>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6E63D8F1-89D7-1743-85D2-0D473C2535C2}">
      <dsp:nvSpPr>
        <dsp:cNvPr id="0" name=""/>
        <dsp:cNvSpPr/>
      </dsp:nvSpPr>
      <dsp:spPr>
        <a:xfrm>
          <a:off x="3080017" y="2630717"/>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0396E3A7-7952-C64F-A17F-F1B65AF796E1}">
      <dsp:nvSpPr>
        <dsp:cNvPr id="0" name=""/>
        <dsp:cNvSpPr/>
      </dsp:nvSpPr>
      <dsp:spPr>
        <a:xfrm>
          <a:off x="2988468" y="2854980"/>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FDDF24EF-9FE8-8D45-BA58-F574210DDC17}">
      <dsp:nvSpPr>
        <dsp:cNvPr id="0" name=""/>
        <dsp:cNvSpPr/>
      </dsp:nvSpPr>
      <dsp:spPr>
        <a:xfrm>
          <a:off x="2923183" y="942531"/>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A1F07B3C-502D-804C-9AC9-A6EFDA9EBA67}">
      <dsp:nvSpPr>
        <dsp:cNvPr id="0" name=""/>
        <dsp:cNvSpPr/>
      </dsp:nvSpPr>
      <dsp:spPr>
        <a:xfrm>
          <a:off x="3091273" y="835331"/>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F45B92D2-6884-904F-B945-AB7DF0B26EA0}">
      <dsp:nvSpPr>
        <dsp:cNvPr id="0" name=""/>
        <dsp:cNvSpPr/>
      </dsp:nvSpPr>
      <dsp:spPr>
        <a:xfrm>
          <a:off x="3260113" y="728131"/>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3F5DD063-3BCE-0746-809E-97110E24C5BE}">
      <dsp:nvSpPr>
        <dsp:cNvPr id="0" name=""/>
        <dsp:cNvSpPr/>
      </dsp:nvSpPr>
      <dsp:spPr>
        <a:xfrm>
          <a:off x="3428953" y="835331"/>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FA4E9D2D-DA18-324D-B1C3-67B1A3F8EAE7}">
      <dsp:nvSpPr>
        <dsp:cNvPr id="0" name=""/>
        <dsp:cNvSpPr/>
      </dsp:nvSpPr>
      <dsp:spPr>
        <a:xfrm>
          <a:off x="3597793" y="942531"/>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E70236D8-5BE1-784B-8A2A-2F396511B326}">
      <dsp:nvSpPr>
        <dsp:cNvPr id="0" name=""/>
        <dsp:cNvSpPr/>
      </dsp:nvSpPr>
      <dsp:spPr>
        <a:xfrm>
          <a:off x="3260113" y="954109"/>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89C55EA1-DF30-AD47-B2BB-899974CD6D87}">
      <dsp:nvSpPr>
        <dsp:cNvPr id="0" name=""/>
        <dsp:cNvSpPr/>
      </dsp:nvSpPr>
      <dsp:spPr>
        <a:xfrm>
          <a:off x="3260113" y="1180515"/>
          <a:ext cx="121564" cy="121564"/>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E33BCA95-A263-C948-A4E9-7CBE99835A5A}">
      <dsp:nvSpPr>
        <dsp:cNvPr id="0" name=""/>
        <dsp:cNvSpPr/>
      </dsp:nvSpPr>
      <dsp:spPr>
        <a:xfrm>
          <a:off x="921116" y="4381401"/>
          <a:ext cx="2619647" cy="702374"/>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54492"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u="sng" kern="1200" dirty="0">
              <a:hlinkClick xmlns:r="http://schemas.openxmlformats.org/officeDocument/2006/relationships" r:id="rId1">
                <a:extLst>
                  <a:ext uri="{A12FA001-AC4F-418D-AE19-62706E023703}">
                    <ahyp:hlinkClr xmlns:ahyp="http://schemas.microsoft.com/office/drawing/2018/hyperlinkcolor" val="tx"/>
                  </a:ext>
                </a:extLst>
              </a:hlinkClick>
            </a:rPr>
            <a:t>IRA 2022/ EPA Programs</a:t>
          </a:r>
          <a:r>
            <a:rPr lang="en-US" sz="1500" b="0" i="0" kern="1200" dirty="0"/>
            <a:t> </a:t>
          </a:r>
          <a:endParaRPr lang="en-US" sz="1500" kern="1200" dirty="0"/>
        </a:p>
      </dsp:txBody>
      <dsp:txXfrm>
        <a:off x="955403" y="4415688"/>
        <a:ext cx="2551073" cy="633800"/>
      </dsp:txXfrm>
    </dsp:sp>
    <dsp:sp modelId="{519C9D3E-AE04-7C4F-8BDC-B8E9A0D831EF}">
      <dsp:nvSpPr>
        <dsp:cNvPr id="0" name=""/>
        <dsp:cNvSpPr/>
      </dsp:nvSpPr>
      <dsp:spPr>
        <a:xfrm>
          <a:off x="3540763" y="4381401"/>
          <a:ext cx="3768509" cy="702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22860" rIns="22860" bIns="22860" numCol="1" spcCol="1270" anchor="t" anchorCtr="0">
          <a:noAutofit/>
        </a:bodyPr>
        <a:lstStyle/>
        <a:p>
          <a:pPr marL="57150" lvl="1" indent="-57150" algn="l" defTabSz="311150">
            <a:lnSpc>
              <a:spcPct val="90000"/>
            </a:lnSpc>
            <a:spcBef>
              <a:spcPct val="0"/>
            </a:spcBef>
            <a:spcAft>
              <a:spcPct val="15000"/>
            </a:spcAft>
            <a:buChar char="•"/>
          </a:pPr>
          <a:r>
            <a:rPr lang="en-US" sz="700" kern="1200" dirty="0"/>
            <a:t>The largest investment in climate &amp; energy in US History</a:t>
          </a:r>
        </a:p>
        <a:p>
          <a:pPr marL="57150" lvl="1" indent="-57150" algn="l" defTabSz="311150">
            <a:lnSpc>
              <a:spcPct val="90000"/>
            </a:lnSpc>
            <a:spcBef>
              <a:spcPct val="0"/>
            </a:spcBef>
            <a:spcAft>
              <a:spcPct val="15000"/>
            </a:spcAft>
            <a:buChar char="•"/>
          </a:pPr>
          <a:r>
            <a:rPr lang="en-US" sz="700" b="0" i="0" kern="1200" dirty="0"/>
            <a:t>Grants for standardization/certification for carbon efficiency.</a:t>
          </a:r>
          <a:endParaRPr lang="en-US" sz="700" kern="1200" dirty="0"/>
        </a:p>
      </dsp:txBody>
      <dsp:txXfrm>
        <a:off x="3540763" y="4381401"/>
        <a:ext cx="3768509" cy="702374"/>
      </dsp:txXfrm>
    </dsp:sp>
    <dsp:sp modelId="{EDF37BFD-C1D8-B149-B606-6DFF0B27F68D}">
      <dsp:nvSpPr>
        <dsp:cNvPr id="0" name=""/>
        <dsp:cNvSpPr/>
      </dsp:nvSpPr>
      <dsp:spPr>
        <a:xfrm>
          <a:off x="194728" y="3673452"/>
          <a:ext cx="1214147" cy="1214361"/>
        </a:xfrm>
        <a:prstGeom prst="ellipse">
          <a:avLst/>
        </a:prstGeom>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35E4A350-BE1E-DD42-ABC4-0A3278847054}">
      <dsp:nvSpPr>
        <dsp:cNvPr id="0" name=""/>
        <dsp:cNvSpPr/>
      </dsp:nvSpPr>
      <dsp:spPr>
        <a:xfrm>
          <a:off x="2605764" y="3469343"/>
          <a:ext cx="2619647" cy="702374"/>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54492" tIns="57150" rIns="57150" bIns="57150" numCol="1" spcCol="1270" anchor="ctr" anchorCtr="0">
          <a:noAutofit/>
        </a:bodyPr>
        <a:lstStyle/>
        <a:p>
          <a:pPr marL="0" lvl="0" indent="0" algn="l" defTabSz="666750">
            <a:lnSpc>
              <a:spcPct val="90000"/>
            </a:lnSpc>
            <a:spcBef>
              <a:spcPct val="0"/>
            </a:spcBef>
            <a:spcAft>
              <a:spcPct val="35000"/>
            </a:spcAft>
            <a:buNone/>
          </a:pPr>
          <a:r>
            <a:rPr lang="en-US" sz="1500" b="0" i="0" kern="1200" dirty="0">
              <a:hlinkClick xmlns:r="http://schemas.openxmlformats.org/officeDocument/2006/relationships" r:id="rId4">
                <a:extLst>
                  <a:ext uri="{A12FA001-AC4F-418D-AE19-62706E023703}">
                    <ahyp:hlinkClr xmlns:ahyp="http://schemas.microsoft.com/office/drawing/2018/hyperlinkcolor" val="tx"/>
                  </a:ext>
                </a:extLst>
              </a:hlinkClick>
            </a:rPr>
            <a:t>Buy Clean Initiative</a:t>
          </a:r>
          <a:endParaRPr lang="en-US" sz="1500" kern="1200" dirty="0"/>
        </a:p>
      </dsp:txBody>
      <dsp:txXfrm>
        <a:off x="2640051" y="3503630"/>
        <a:ext cx="2551073" cy="633800"/>
      </dsp:txXfrm>
    </dsp:sp>
    <dsp:sp modelId="{316B0FA5-14BF-C94E-AEAB-92A244FD922C}">
      <dsp:nvSpPr>
        <dsp:cNvPr id="0" name=""/>
        <dsp:cNvSpPr/>
      </dsp:nvSpPr>
      <dsp:spPr>
        <a:xfrm>
          <a:off x="5225411" y="3469343"/>
          <a:ext cx="2083861" cy="702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22860" rIns="22860" bIns="22860" numCol="1" spcCol="1270" anchor="t" anchorCtr="0">
          <a:noAutofit/>
        </a:bodyPr>
        <a:lstStyle/>
        <a:p>
          <a:pPr marL="57150" lvl="1" indent="-57150" algn="l" defTabSz="311150">
            <a:lnSpc>
              <a:spcPct val="90000"/>
            </a:lnSpc>
            <a:spcBef>
              <a:spcPct val="0"/>
            </a:spcBef>
            <a:spcAft>
              <a:spcPct val="15000"/>
            </a:spcAft>
            <a:buChar char="•"/>
          </a:pPr>
          <a:r>
            <a:rPr lang="en-US" sz="700" b="0" i="0" kern="1200" dirty="0"/>
            <a:t>Increases EPD reporting </a:t>
          </a:r>
          <a:endParaRPr lang="en-US" sz="700" kern="1200" dirty="0"/>
        </a:p>
        <a:p>
          <a:pPr marL="57150" lvl="1" indent="-57150" algn="l" defTabSz="311150">
            <a:lnSpc>
              <a:spcPct val="90000"/>
            </a:lnSpc>
            <a:spcBef>
              <a:spcPct val="0"/>
            </a:spcBef>
            <a:spcAft>
              <a:spcPct val="15000"/>
            </a:spcAft>
            <a:buChar char="•"/>
          </a:pPr>
          <a:r>
            <a:rPr lang="en-US" sz="700" b="0" i="0" kern="1200"/>
            <a:t>Develop policies </a:t>
          </a:r>
          <a:r>
            <a:rPr lang="en-US" sz="700" b="0" i="0" kern="1200" dirty="0"/>
            <a:t>to promote low-carbon, made-in-America materials in Fed. Projects</a:t>
          </a:r>
          <a:endParaRPr lang="en-US" sz="700" kern="1200" dirty="0">
            <a:highlight>
              <a:srgbClr val="FFFF00"/>
            </a:highlight>
          </a:endParaRPr>
        </a:p>
      </dsp:txBody>
      <dsp:txXfrm>
        <a:off x="5225411" y="3469343"/>
        <a:ext cx="2083861" cy="702374"/>
      </dsp:txXfrm>
    </dsp:sp>
    <dsp:sp modelId="{841E551E-E9D9-CF4D-BDB8-E37FB975A135}">
      <dsp:nvSpPr>
        <dsp:cNvPr id="0" name=""/>
        <dsp:cNvSpPr/>
      </dsp:nvSpPr>
      <dsp:spPr>
        <a:xfrm>
          <a:off x="1879377" y="2761394"/>
          <a:ext cx="1214147" cy="1214361"/>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80A9C8A7-F39B-E24B-A9EB-B2B2403318CB}">
      <dsp:nvSpPr>
        <dsp:cNvPr id="0" name=""/>
        <dsp:cNvSpPr/>
      </dsp:nvSpPr>
      <dsp:spPr>
        <a:xfrm>
          <a:off x="3379427" y="2086034"/>
          <a:ext cx="2619647" cy="702374"/>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54492"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dirty="0"/>
            <a:t>U.S. General Services Administration</a:t>
          </a:r>
        </a:p>
      </dsp:txBody>
      <dsp:txXfrm>
        <a:off x="3413714" y="2120321"/>
        <a:ext cx="2551073" cy="633800"/>
      </dsp:txXfrm>
    </dsp:sp>
    <dsp:sp modelId="{2F80420B-3792-AD41-B415-6132D2561E9E}">
      <dsp:nvSpPr>
        <dsp:cNvPr id="0" name=""/>
        <dsp:cNvSpPr/>
      </dsp:nvSpPr>
      <dsp:spPr>
        <a:xfrm>
          <a:off x="5999074" y="2086034"/>
          <a:ext cx="1310198" cy="7023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22860" rIns="22860" bIns="22860" numCol="1" spcCol="1270" anchor="ctr" anchorCtr="0">
          <a:noAutofit/>
        </a:bodyPr>
        <a:lstStyle/>
        <a:p>
          <a:pPr marL="0" lvl="0" indent="0" algn="l" defTabSz="400050">
            <a:lnSpc>
              <a:spcPct val="90000"/>
            </a:lnSpc>
            <a:spcBef>
              <a:spcPct val="0"/>
            </a:spcBef>
            <a:spcAft>
              <a:spcPct val="35000"/>
            </a:spcAft>
            <a:buNone/>
          </a:pPr>
          <a:r>
            <a:rPr lang="en-US" sz="900" kern="1200" dirty="0"/>
            <a:t>Interim IRA Low Embodied Carbon Material Requirements May 16, 2023</a:t>
          </a:r>
        </a:p>
      </dsp:txBody>
      <dsp:txXfrm>
        <a:off x="5999074" y="2086034"/>
        <a:ext cx="1310198" cy="702374"/>
      </dsp:txXfrm>
    </dsp:sp>
    <dsp:sp modelId="{9065691D-A3E5-5A43-898C-C563106A4077}">
      <dsp:nvSpPr>
        <dsp:cNvPr id="0" name=""/>
        <dsp:cNvSpPr/>
      </dsp:nvSpPr>
      <dsp:spPr>
        <a:xfrm>
          <a:off x="2653039" y="1378085"/>
          <a:ext cx="1214147" cy="1214361"/>
        </a:xfrm>
        <a:prstGeom prst="ellipse">
          <a:avLst/>
        </a:prstGeom>
        <a:blipFill>
          <a:blip xmlns:r="http://schemas.openxmlformats.org/officeDocument/2006/relationships" r:embed="rId7"/>
          <a:srcRect/>
          <a:stretch>
            <a:fillRect l="-39000" r="-39000"/>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583A5A-9E75-AB4A-9E37-10A31A3E3D26}">
      <dsp:nvSpPr>
        <dsp:cNvPr id="0" name=""/>
        <dsp:cNvSpPr/>
      </dsp:nvSpPr>
      <dsp:spPr>
        <a:xfrm>
          <a:off x="291465" y="0"/>
          <a:ext cx="3303269" cy="4351338"/>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0C46D5E5-3DEB-8C41-9FD2-30CE8450768A}">
      <dsp:nvSpPr>
        <dsp:cNvPr id="0" name=""/>
        <dsp:cNvSpPr/>
      </dsp:nvSpPr>
      <dsp:spPr>
        <a:xfrm>
          <a:off x="265658" y="1305401"/>
          <a:ext cx="1580286" cy="1740535"/>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i="0" kern="1200" baseline="0" dirty="0"/>
            <a:t>Funds Housing</a:t>
          </a:r>
          <a:endParaRPr lang="en-US" sz="2400" kern="1200" dirty="0"/>
        </a:p>
      </dsp:txBody>
      <dsp:txXfrm>
        <a:off x="342801" y="1382544"/>
        <a:ext cx="1426000" cy="1586249"/>
      </dsp:txXfrm>
    </dsp:sp>
    <dsp:sp modelId="{73F65A09-AB9E-804D-8A71-911EDD3339BB}">
      <dsp:nvSpPr>
        <dsp:cNvPr id="0" name=""/>
        <dsp:cNvSpPr/>
      </dsp:nvSpPr>
      <dsp:spPr>
        <a:xfrm>
          <a:off x="2040255" y="1305401"/>
          <a:ext cx="1580286" cy="1740535"/>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baseline="0" dirty="0"/>
            <a:t>Requires Low Carbon &amp; EPDs</a:t>
          </a:r>
          <a:endParaRPr lang="en-US" sz="2400" kern="1200" dirty="0"/>
        </a:p>
      </dsp:txBody>
      <dsp:txXfrm>
        <a:off x="2117398" y="1382544"/>
        <a:ext cx="1426000" cy="158624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0CFDDA-CDC3-8249-9681-9F933A36CA1D}">
      <dsp:nvSpPr>
        <dsp:cNvPr id="0" name=""/>
        <dsp:cNvSpPr/>
      </dsp:nvSpPr>
      <dsp:spPr>
        <a:xfrm>
          <a:off x="0" y="2547"/>
          <a:ext cx="1660524" cy="94782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Major Take Aways </a:t>
          </a:r>
        </a:p>
      </dsp:txBody>
      <dsp:txXfrm>
        <a:off x="27761" y="30308"/>
        <a:ext cx="1605002" cy="892299"/>
      </dsp:txXfrm>
    </dsp:sp>
    <dsp:sp modelId="{0350B972-8C18-814F-B5FD-1A57A60DEEAA}">
      <dsp:nvSpPr>
        <dsp:cNvPr id="0" name=""/>
        <dsp:cNvSpPr/>
      </dsp:nvSpPr>
      <dsp:spPr>
        <a:xfrm rot="5400000">
          <a:off x="652546" y="974064"/>
          <a:ext cx="355432" cy="4265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rot="-5400000">
        <a:off x="702307" y="1009607"/>
        <a:ext cx="255911" cy="248802"/>
      </dsp:txXfrm>
    </dsp:sp>
    <dsp:sp modelId="{7D0C70CF-7D57-714A-87EA-A8FACBF32057}">
      <dsp:nvSpPr>
        <dsp:cNvPr id="0" name=""/>
        <dsp:cNvSpPr/>
      </dsp:nvSpPr>
      <dsp:spPr>
        <a:xfrm>
          <a:off x="0" y="1424279"/>
          <a:ext cx="1660524" cy="94782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0" i="1" kern="1200" baseline="0" dirty="0"/>
            <a:t>XPS: 15 - 20x GWP </a:t>
          </a:r>
          <a:endParaRPr lang="en-US" sz="1500" kern="1200" dirty="0"/>
        </a:p>
      </dsp:txBody>
      <dsp:txXfrm>
        <a:off x="27761" y="1452040"/>
        <a:ext cx="1605002" cy="892299"/>
      </dsp:txXfrm>
    </dsp:sp>
    <dsp:sp modelId="{FF96D150-7F3E-1247-A661-77F8CDC54A58}">
      <dsp:nvSpPr>
        <dsp:cNvPr id="0" name=""/>
        <dsp:cNvSpPr/>
      </dsp:nvSpPr>
      <dsp:spPr>
        <a:xfrm rot="5400000">
          <a:off x="652546" y="2395796"/>
          <a:ext cx="355432" cy="4265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rot="-5400000">
        <a:off x="702307" y="2431339"/>
        <a:ext cx="255911" cy="248802"/>
      </dsp:txXfrm>
    </dsp:sp>
    <dsp:sp modelId="{A88CF44D-934C-3548-A9A4-25ECD9774D0F}">
      <dsp:nvSpPr>
        <dsp:cNvPr id="0" name=""/>
        <dsp:cNvSpPr/>
      </dsp:nvSpPr>
      <dsp:spPr>
        <a:xfrm>
          <a:off x="0" y="2846011"/>
          <a:ext cx="1660524" cy="94782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0" i="1" kern="1200" baseline="0" dirty="0"/>
            <a:t>Blown cellulose lowest but needs to be contained</a:t>
          </a:r>
          <a:endParaRPr lang="en-US" sz="1500" kern="1200" dirty="0"/>
        </a:p>
      </dsp:txBody>
      <dsp:txXfrm>
        <a:off x="27761" y="2873772"/>
        <a:ext cx="1605002" cy="892299"/>
      </dsp:txXfrm>
    </dsp:sp>
    <dsp:sp modelId="{3127B4F6-C824-7B44-8CC3-A70CAFE9CEF4}">
      <dsp:nvSpPr>
        <dsp:cNvPr id="0" name=""/>
        <dsp:cNvSpPr/>
      </dsp:nvSpPr>
      <dsp:spPr>
        <a:xfrm rot="5400000">
          <a:off x="652546" y="3817527"/>
          <a:ext cx="355432" cy="42651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rot="-5400000">
        <a:off x="702307" y="3853070"/>
        <a:ext cx="255911" cy="248802"/>
      </dsp:txXfrm>
    </dsp:sp>
    <dsp:sp modelId="{01FD4B1E-7749-7E49-AF3A-EA4BC4C3C786}">
      <dsp:nvSpPr>
        <dsp:cNvPr id="0" name=""/>
        <dsp:cNvSpPr/>
      </dsp:nvSpPr>
      <dsp:spPr>
        <a:xfrm>
          <a:off x="0" y="4267742"/>
          <a:ext cx="1660524" cy="94782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0" i="1" kern="1200" baseline="0" dirty="0"/>
            <a:t>GPS offers good embodied carbon values</a:t>
          </a:r>
          <a:endParaRPr lang="en-US" sz="1500" kern="1200" dirty="0"/>
        </a:p>
      </dsp:txBody>
      <dsp:txXfrm>
        <a:off x="27761" y="4295503"/>
        <a:ext cx="1605002" cy="892299"/>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1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8/layout/AscendingPictureAccentProcess">
  <dgm:title val=""/>
  <dgm:desc val=""/>
  <dgm:catLst>
    <dgm:cat type="process" pri="22500"/>
    <dgm:cat type="picture" pri="16000"/>
    <dgm:cat type="pictureconvert" pri="16000"/>
  </dgm:catLst>
  <dgm:samp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shape xmlns:r="http://schemas.openxmlformats.org/officeDocument/2006/relationships" r:blip="">
      <dgm:adjLst/>
    </dgm:shape>
    <dgm:choose name="Name1">
      <dgm:if name="Name2" axis="ch" ptType="node" func="cnt" op="equ" val="1">
        <dgm:choose name="Name3">
          <dgm:if name="Name4" func="var" arg="dir" op="equ" val="norm">
            <dgm:choose name="Name5">
              <dgm:if name="Name6" axis="des" func="maxDepth" op="gt" val="1">
                <dgm:alg type="composite">
                  <dgm:param type="ar" val="2.7"/>
                </dgm:alg>
                <dgm:constrLst>
                  <dgm:constr type="primFontSz" for="ch" forName="parTx1" op="equ" val="65"/>
                  <dgm:constr type="primFontSz" for="ch" forName="desTx1" op="equ" val="65"/>
                  <dgm:constr type="userD" refType="w" fact="0.0247"/>
                  <dgm:constr type="l" for="ch" forName="parTx1" refType="w" fact="0.2711"/>
                  <dgm:constr type="t" for="ch" forName="parTx1" refType="h" fact="0.9603"/>
                  <dgm:constr type="w" for="ch" forName="parTx1" refType="w" fact="0.5325"/>
                  <dgm:constr type="h" for="ch" forName="parTx1" refType="h" fact="0.3856"/>
                  <dgm:constr type="ctrX" for="ch" forName="picture1" refType="w" fact="0.2469"/>
                  <dgm:constr type="ctrY" for="ch" forName="picture1" refType="h" fact="0.9"/>
                  <dgm:constr type="w" for="ch" forName="picture1" refType="w" fact="0.2469"/>
                  <dgm:constr type="h" for="ch" forName="picture1" refType="h" fact="0.6667"/>
                  <dgm:constr type="l" for="ch" forName="desTx1" refType="r" refFor="ch" refForName="parTx1"/>
                  <dgm:constr type="r" for="ch" forName="desTx1" refType="w"/>
                  <dgm:constr type="t" for="ch" forName="desTx1" refType="t" refFor="ch" refForName="parTx1"/>
                  <dgm:constr type="h" for="ch" forName="desTx1" refType="h" refFor="ch" refForName="parTx1"/>
                </dgm:constrLst>
              </dgm:if>
              <dgm:else name="Name7">
                <dgm:alg type="composite">
                  <dgm:param type="ar" val="2"/>
                </dgm:alg>
                <dgm:constrLst>
                  <dgm:constr type="primFontSz" for="ch" forName="parTx1" op="equ" val="65"/>
                  <dgm:constr type="userD" refType="w" fact="0.0333"/>
                  <dgm:constr type="l" for="ch" forName="parTx1" refType="w" fact="0.366"/>
                  <dgm:constr type="t" for="ch" forName="parTx1" refType="h" fact="0.7113"/>
                  <dgm:constr type="w" for="ch" forName="parTx1" refType="w" fact="0.7189"/>
                  <dgm:constr type="h" for="ch" forName="parTx1" refType="h" fact="0.3856"/>
                  <dgm:constr type="ctrX" for="ch" forName="picture1" refType="w" fact="0.3333"/>
                  <dgm:constr type="ctrY" for="ch" forName="picture1" refType="h" fact="0.6667"/>
                  <dgm:constr type="w" for="ch" forName="picture1" refType="w" fact="0.3333"/>
                  <dgm:constr type="h" for="ch" forName="picture1" refType="h" fact="0.6667"/>
                </dgm:constrLst>
              </dgm:else>
            </dgm:choose>
          </dgm:if>
          <dgm:else name="Name8">
            <dgm:choose name="Name9">
              <dgm:if name="Name10" axis="des" func="maxDepth" op="gt" val="1">
                <dgm:alg type="composite">
                  <dgm:param type="ar" val="2.7"/>
                </dgm:alg>
                <dgm:constrLst>
                  <dgm:constr type="primFontSz" for="ch" forName="parTx1" op="equ" val="65"/>
                  <dgm:constr type="primFontSz" for="ch" forName="desTx1" op="equ" val="65"/>
                  <dgm:constr type="userD" refType="w" fact="0.0247"/>
                  <dgm:constr type="r" for="ch" forName="parTx1" refType="w" fact="0.7289"/>
                  <dgm:constr type="t" for="ch" forName="parTx1" refType="h" fact="0.9603"/>
                  <dgm:constr type="w" for="ch" forName="parTx1" refType="w" fact="0.5325"/>
                  <dgm:constr type="h" for="ch" forName="parTx1" refType="h" fact="0.3856"/>
                  <dgm:constr type="ctrX" for="ch" forName="picture1" refType="w" fact="0.7531"/>
                  <dgm:constr type="ctrY" for="ch" forName="picture1" refType="h" fact="0.9"/>
                  <dgm:constr type="w" for="ch" forName="picture1" refType="w" fact="0.2469"/>
                  <dgm:constr type="h" for="ch" forName="picture1" refType="h" fact="0.6667"/>
                  <dgm:constr type="r" for="ch" forName="desTx1" refType="l" refFor="ch" refForName="parTx1"/>
                  <dgm:constr type="l" for="ch" forName="desTx1"/>
                  <dgm:constr type="t" for="ch" forName="desTx1" refType="t" refFor="ch" refForName="parTx1"/>
                  <dgm:constr type="h" for="ch" forName="desTx1" refType="h" refFor="ch" refForName="parTx1"/>
                </dgm:constrLst>
              </dgm:if>
              <dgm:else name="Name11">
                <dgm:alg type="composite">
                  <dgm:param type="ar" val="2"/>
                </dgm:alg>
                <dgm:constrLst>
                  <dgm:constr type="primFontSz" for="ch" forName="parTx1" op="equ" val="65"/>
                  <dgm:constr type="userD" refType="w" fact="0.0333"/>
                  <dgm:constr type="r" for="ch" forName="parTx1" refType="w" fact="0.634"/>
                  <dgm:constr type="t" for="ch" forName="parTx1" refType="h" fact="0.7113"/>
                  <dgm:constr type="w" for="ch" forName="parTx1" refType="w" fact="0.7189"/>
                  <dgm:constr type="h" for="ch" forName="parTx1" refType="h" fact="0.3856"/>
                  <dgm:constr type="ctrX" for="ch" forName="picture1" refType="w" fact="0.6667"/>
                  <dgm:constr type="ctrY" for="ch" forName="picture1" refType="h" fact="0.6667"/>
                  <dgm:constr type="w" for="ch" forName="picture1" refType="w" fact="0.3333"/>
                  <dgm:constr type="h" for="ch" forName="picture1" refType="h" fact="0.6667"/>
                </dgm:constrLst>
              </dgm:else>
            </dgm:choose>
          </dgm:else>
        </dgm:choose>
      </dgm:if>
      <dgm:if name="Name12" axis="ch" ptType="node" func="cnt" op="equ" val="2">
        <dgm:choose name="Name13">
          <dgm:if name="Name14" func="var" arg="dir" op="equ" val="norm">
            <dgm:choose name="Name15">
              <dgm:if name="Name16"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3221"/>
                  <dgm:constr type="ctrY" for="ch" forName="dot1" refType="h" fact="0.5911"/>
                  <dgm:constr type="w" for="ch" forName="dot1" refType="userD"/>
                  <dgm:constr type="h" for="ch" forName="dot1" refType="userD"/>
                  <dgm:constr type="ctrX" for="ch" forName="dot2" refType="w" fact="0.3056"/>
                  <dgm:constr type="ctrY" for="ch" forName="dot2" refType="h" fact="0.644"/>
                  <dgm:constr type="w" for="ch" forName="dot2" refType="userD"/>
                  <dgm:constr type="h" for="ch" forName="dot2" refType="userD"/>
                  <dgm:constr type="ctrX" for="ch" forName="dot3" refType="w" fact="0.2859"/>
                  <dgm:constr type="ctrY" for="ch" forName="dot3" refType="h" fact="0.6898"/>
                  <dgm:constr type="w" for="ch" forName="dot3" refType="userD"/>
                  <dgm:constr type="h" for="ch" forName="dot3" refType="userD"/>
                  <dgm:constr type="ctrX" for="ch" forName="dotArrow1" refType="w" fact="0.3095"/>
                  <dgm:constr type="ctrY" for="ch" forName="dotArrow1" refType="h" fact="0.0587"/>
                  <dgm:constr type="w" for="ch" forName="dotArrow1" refType="userD"/>
                  <dgm:constr type="h" for="ch" forName="dotArrow1" refType="userD"/>
                  <dgm:constr type="ctrX" for="ch" forName="dotArrow2" refType="w" fact="0.3346"/>
                  <dgm:constr type="ctrY" for="ch" forName="dotArrow2" refType="h" fact="0.0287"/>
                  <dgm:constr type="w" for="ch" forName="dotArrow2" refType="userD"/>
                  <dgm:constr type="h" for="ch" forName="dotArrow2" refType="userD"/>
                  <dgm:constr type="ctrX" for="ch" forName="dotArrow3" refType="w" fact="0.3597"/>
                  <dgm:constr type="ctrY" for="ch" forName="dotArrow3" refType="h" fact="-0.0013"/>
                  <dgm:constr type="w" for="ch" forName="dotArrow3" refType="userD"/>
                  <dgm:constr type="h" for="ch" forName="dotArrow3" refType="userD"/>
                  <dgm:constr type="ctrX" for="ch" forName="dotArrow4" refType="w" fact="0.3848"/>
                  <dgm:constr type="ctrY" for="ch" forName="dotArrow4" refType="h" fact="0.0287"/>
                  <dgm:constr type="w" for="ch" forName="dotArrow4" refType="userD"/>
                  <dgm:constr type="h" for="ch" forName="dotArrow4" refType="userD"/>
                  <dgm:constr type="ctrX" for="ch" forName="dotArrow5" refType="w" fact="0.41"/>
                  <dgm:constr type="ctrY" for="ch" forName="dotArrow5" refType="h" fact="0.0587"/>
                  <dgm:constr type="w" for="ch" forName="dotArrow5" refType="userD"/>
                  <dgm:constr type="h" for="ch" forName="dotArrow5" refType="userD"/>
                  <dgm:constr type="ctrX" for="ch" forName="dotArrow6" refType="w" fact="0.3597"/>
                  <dgm:constr type="ctrY" for="ch" forName="dotArrow6" refType="h" fact="0.062"/>
                  <dgm:constr type="w" for="ch" forName="dotArrow6" refType="userD"/>
                  <dgm:constr type="h" for="ch" forName="dotArrow6" refType="userD"/>
                  <dgm:constr type="ctrX" for="ch" forName="dotArrow7" refType="w" fact="0.3597"/>
                  <dgm:constr type="ctrY" for="ch" forName="dotArrow7" refType="h" fact="0.1253"/>
                  <dgm:constr type="w" for="ch" forName="dotArrow7" refType="userD"/>
                  <dgm:constr type="h" for="ch" forName="dotArrow7" refType="userD"/>
                  <dgm:constr type="l" for="ch" forName="parTx1" refType="w" fact="0.197"/>
                  <dgm:constr type="t" for="ch" forName="parTx1" refType="h" fact="0.8169"/>
                  <dgm:constr type="w" for="ch" forName="parTx1" refType="w" fact="0.4064"/>
                  <dgm:constr type="h" for="ch" forName="parTx1" refType="h" fact="0.218"/>
                  <dgm:constr type="ctrX" for="ch" forName="picture1" refType="w" fact="0.1785"/>
                  <dgm:constr type="ctrY" for="ch" forName="picture1" refType="h" fact="0.7834"/>
                  <dgm:constr type="w" for="ch" forName="picture1" refType="w" fact="0.1884"/>
                  <dgm:constr type="h" for="ch" forName="picture1" refType="h" fact="0.376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688"/>
                  <dgm:constr type="t" for="ch" forName="parTx2" refType="h" fact="0.3905"/>
                  <dgm:constr type="w" for="ch" forName="parTx2" refType="w" fact="0.4064"/>
                  <dgm:constr type="h" for="ch" forName="parTx2" refType="h" fact="0.218"/>
                  <dgm:constr type="ctrX" for="ch" forName="picture2" refType="w" fact="0.3503"/>
                  <dgm:constr type="ctrY" for="ch" forName="picture2" refType="h" fact="0.357"/>
                  <dgm:constr type="w" for="ch" forName="picture2" refType="w" fact="0.1884"/>
                  <dgm:constr type="h" for="ch" forName="picture2" refType="h" fact="0.3768"/>
                  <dgm:constr type="l" for="ch" forName="desTx2" refType="r" refFor="ch" refForName="parTx2"/>
                  <dgm:constr type="r" for="ch" forName="desTx2" refType="w"/>
                  <dgm:constr type="t" for="ch" forName="desTx2" refType="t" refFor="ch" refForName="parTx2"/>
                  <dgm:constr type="h" for="ch" forName="desTx2" refType="h" refFor="ch" refForName="parTx2"/>
                </dgm:constrLst>
              </dgm:if>
              <dgm:else name="Name17">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4274"/>
                  <dgm:constr type="ctrY" for="ch" forName="dot1" refType="h" fact="0.5911"/>
                  <dgm:constr type="w" for="ch" forName="dot1" refType="userD"/>
                  <dgm:constr type="h" for="ch" forName="dot1" refType="userD"/>
                  <dgm:constr type="ctrX" for="ch" forName="dot2" refType="w" fact="0.4055"/>
                  <dgm:constr type="ctrY" for="ch" forName="dot2" refType="h" fact="0.644"/>
                  <dgm:constr type="w" for="ch" forName="dot2" refType="userD"/>
                  <dgm:constr type="h" for="ch" forName="dot2" refType="userD"/>
                  <dgm:constr type="ctrX" for="ch" forName="dot3" refType="w" fact="0.3794"/>
                  <dgm:constr type="ctrY" for="ch" forName="dot3" refType="h" fact="0.6898"/>
                  <dgm:constr type="w" for="ch" forName="dot3" refType="userD"/>
                  <dgm:constr type="h" for="ch" forName="dot3" refType="userD"/>
                  <dgm:constr type="ctrX" for="ch" forName="dotArrow1" refType="w" fact="0.4106"/>
                  <dgm:constr type="ctrY" for="ch" forName="dotArrow1" refType="h" fact="0.0587"/>
                  <dgm:constr type="w" for="ch" forName="dotArrow1" refType="userD"/>
                  <dgm:constr type="h" for="ch" forName="dotArrow1" refType="userD"/>
                  <dgm:constr type="ctrX" for="ch" forName="dotArrow2" refType="w" fact="0.444"/>
                  <dgm:constr type="ctrY" for="ch" forName="dotArrow2" refType="h" fact="0.0287"/>
                  <dgm:constr type="w" for="ch" forName="dotArrow2" refType="userD"/>
                  <dgm:constr type="h" for="ch" forName="dotArrow2" refType="userD"/>
                  <dgm:constr type="ctrX" for="ch" forName="dotArrow3" refType="w" fact="0.4773"/>
                  <dgm:constr type="ctrY" for="ch" forName="dotArrow3" refType="h" fact="-0.0013"/>
                  <dgm:constr type="w" for="ch" forName="dotArrow3" refType="userD"/>
                  <dgm:constr type="h" for="ch" forName="dotArrow3" refType="userD"/>
                  <dgm:constr type="ctrX" for="ch" forName="dotArrow4" refType="w" fact="0.5106"/>
                  <dgm:constr type="ctrY" for="ch" forName="dotArrow4" refType="h" fact="0.0287"/>
                  <dgm:constr type="w" for="ch" forName="dotArrow4" refType="userD"/>
                  <dgm:constr type="h" for="ch" forName="dotArrow4" refType="userD"/>
                  <dgm:constr type="ctrX" for="ch" forName="dotArrow5" refType="w" fact="0.544"/>
                  <dgm:constr type="ctrY" for="ch" forName="dotArrow5" refType="h" fact="0.0587"/>
                  <dgm:constr type="w" for="ch" forName="dotArrow5" refType="userD"/>
                  <dgm:constr type="h" for="ch" forName="dotArrow5" refType="userD"/>
                  <dgm:constr type="ctrX" for="ch" forName="dotArrow6" refType="w" fact="0.4773"/>
                  <dgm:constr type="ctrY" for="ch" forName="dotArrow6" refType="h" fact="0.062"/>
                  <dgm:constr type="w" for="ch" forName="dotArrow6" refType="userD"/>
                  <dgm:constr type="h" for="ch" forName="dotArrow6" refType="userD"/>
                  <dgm:constr type="ctrX" for="ch" forName="dotArrow7" refType="w" fact="0.4773"/>
                  <dgm:constr type="ctrY" for="ch" forName="dotArrow7" refType="h" fact="0.1253"/>
                  <dgm:constr type="w" for="ch" forName="dotArrow7" refType="userD"/>
                  <dgm:constr type="h" for="ch" forName="dotArrow7" refType="userD"/>
                  <dgm:constr type="l" for="ch" forName="parTx1" refType="w" fact="0.2614"/>
                  <dgm:constr type="t" for="ch" forName="parTx1" refType="h" fact="0.8086"/>
                  <dgm:constr type="w" for="ch" forName="parTx1" refType="w" fact="0.5392"/>
                  <dgm:constr type="h" for="ch" forName="parTx1" refType="h" fact="0.218"/>
                  <dgm:constr type="ctrX" for="ch" forName="picture1" refType="w" fact="0.2369"/>
                  <dgm:constr type="ctrY" for="ch" forName="picture1" refType="h" fact="0.7834"/>
                  <dgm:constr type="w" for="ch" forName="picture1" refType="w" fact="0.25"/>
                  <dgm:constr type="h" for="ch" forName="picture1" refType="h" fact="0.3768"/>
                  <dgm:constr type="l" for="ch" forName="parTx2" refType="w" fact="0.4893"/>
                  <dgm:constr type="t" for="ch" forName="parTx2" refType="h" fact="0.3822"/>
                  <dgm:constr type="w" for="ch" forName="parTx2" refType="w" fact="0.5392"/>
                  <dgm:constr type="h" for="ch" forName="parTx2" refType="h" fact="0.218"/>
                  <dgm:constr type="ctrX" for="ch" forName="picture2" refType="w" fact="0.4648"/>
                  <dgm:constr type="ctrY" for="ch" forName="picture2" refType="h" fact="0.357"/>
                  <dgm:constr type="w" for="ch" forName="picture2" refType="w" fact="0.25"/>
                  <dgm:constr type="h" for="ch" forName="picture2" refType="h" fact="0.3768"/>
                </dgm:constrLst>
              </dgm:else>
            </dgm:choose>
          </dgm:if>
          <dgm:else name="Name18">
            <dgm:choose name="Name19">
              <dgm:if name="Name20" axis="des" func="maxDepth" op="gt" val="1">
                <dgm:alg type="composite">
                  <dgm:param type="ar" val="2"/>
                </dgm:alg>
                <dgm:constrLst>
                  <dgm:constr type="primFontSz" for="ch" forName="parTx1" op="equ" val="65"/>
                  <dgm:constr type="primFontSz" for="ch" forName="parTx2" refType="primFontSz" refFor="ch" refForName="parTx1" op="equ"/>
                  <dgm:constr type="primFontSz" for="ch" forName="desTx1" op="equ" val="65"/>
                  <dgm:constr type="primFontSz" for="ch" forName="desTx2" refType="primFontSz" refFor="ch" refForName="desTx1" op="equ"/>
                  <dgm:constr type="userD" refType="w" fact="0.0188"/>
                  <dgm:constr type="ctrX" for="ch" forName="dot1" refType="w" fact="0.6779"/>
                  <dgm:constr type="ctrY" for="ch" forName="dot1" refType="h" fact="0.5911"/>
                  <dgm:constr type="w" for="ch" forName="dot1" refType="userD"/>
                  <dgm:constr type="h" for="ch" forName="dot1" refType="userD"/>
                  <dgm:constr type="ctrX" for="ch" forName="dot2" refType="w" fact="0.6944"/>
                  <dgm:constr type="ctrY" for="ch" forName="dot2" refType="h" fact="0.644"/>
                  <dgm:constr type="w" for="ch" forName="dot2" refType="userD"/>
                  <dgm:constr type="h" for="ch" forName="dot2" refType="userD"/>
                  <dgm:constr type="ctrX" for="ch" forName="dot3" refType="w" fact="0.7141"/>
                  <dgm:constr type="ctrY" for="ch" forName="dot3" refType="h" fact="0.6898"/>
                  <dgm:constr type="w" for="ch" forName="dot3" refType="userD"/>
                  <dgm:constr type="h" for="ch" forName="dot3" refType="userD"/>
                  <dgm:constr type="ctrX" for="ch" forName="dotArrow1" refType="w" fact="0.6905"/>
                  <dgm:constr type="ctrY" for="ch" forName="dotArrow1" refType="h" fact="0.0587"/>
                  <dgm:constr type="w" for="ch" forName="dotArrow1" refType="userD"/>
                  <dgm:constr type="h" for="ch" forName="dotArrow1" refType="userD"/>
                  <dgm:constr type="ctrX" for="ch" forName="dotArrow2" refType="w" fact="0.6654"/>
                  <dgm:constr type="ctrY" for="ch" forName="dotArrow2" refType="h" fact="0.0287"/>
                  <dgm:constr type="w" for="ch" forName="dotArrow2" refType="userD"/>
                  <dgm:constr type="h" for="ch" forName="dotArrow2" refType="userD"/>
                  <dgm:constr type="ctrX" for="ch" forName="dotArrow3" refType="w" fact="0.6403"/>
                  <dgm:constr type="ctrY" for="ch" forName="dotArrow3" refType="h" fact="-0.0013"/>
                  <dgm:constr type="w" for="ch" forName="dotArrow3" refType="userD"/>
                  <dgm:constr type="h" for="ch" forName="dotArrow3" refType="userD"/>
                  <dgm:constr type="ctrX" for="ch" forName="dotArrow4" refType="w" fact="0.6152"/>
                  <dgm:constr type="ctrY" for="ch" forName="dotArrow4" refType="h" fact="0.0287"/>
                  <dgm:constr type="w" for="ch" forName="dotArrow4" refType="userD"/>
                  <dgm:constr type="h" for="ch" forName="dotArrow4" refType="userD"/>
                  <dgm:constr type="ctrX" for="ch" forName="dotArrow5" refType="w" fact="0.59"/>
                  <dgm:constr type="ctrY" for="ch" forName="dotArrow5" refType="h" fact="0.0587"/>
                  <dgm:constr type="w" for="ch" forName="dotArrow5" refType="userD"/>
                  <dgm:constr type="h" for="ch" forName="dotArrow5" refType="userD"/>
                  <dgm:constr type="ctrX" for="ch" forName="dotArrow6" refType="w" fact="0.6403"/>
                  <dgm:constr type="ctrY" for="ch" forName="dotArrow6" refType="h" fact="0.062"/>
                  <dgm:constr type="w" for="ch" forName="dotArrow6" refType="userD"/>
                  <dgm:constr type="h" for="ch" forName="dotArrow6" refType="userD"/>
                  <dgm:constr type="ctrX" for="ch" forName="dotArrow7" refType="w" fact="0.6403"/>
                  <dgm:constr type="ctrY" for="ch" forName="dotArrow7" refType="h" fact="0.1253"/>
                  <dgm:constr type="w" for="ch" forName="dotArrow7" refType="userD"/>
                  <dgm:constr type="h" for="ch" forName="dotArrow7" refType="userD"/>
                  <dgm:constr type="r" for="ch" forName="parTx1" refType="w" fact="0.803"/>
                  <dgm:constr type="t" for="ch" forName="parTx1" refType="h" fact="0.8169"/>
                  <dgm:constr type="w" for="ch" forName="parTx1" refType="w" fact="0.4064"/>
                  <dgm:constr type="h" for="ch" forName="parTx1" refType="h" fact="0.218"/>
                  <dgm:constr type="ctrX" for="ch" forName="picture1" refType="w" fact="0.8215"/>
                  <dgm:constr type="ctrY" for="ch" forName="picture1" refType="h" fact="0.7834"/>
                  <dgm:constr type="w" for="ch" forName="picture1" refType="w" fact="0.1884"/>
                  <dgm:constr type="h" for="ch" forName="picture1" refType="h" fact="0.376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312"/>
                  <dgm:constr type="t" for="ch" forName="parTx2" refType="h" fact="0.3905"/>
                  <dgm:constr type="w" for="ch" forName="parTx2" refType="w" fact="0.4064"/>
                  <dgm:constr type="h" for="ch" forName="parTx2" refType="h" fact="0.218"/>
                  <dgm:constr type="ctrX" for="ch" forName="picture2" refType="w" fact="0.6497"/>
                  <dgm:constr type="ctrY" for="ch" forName="picture2" refType="h" fact="0.357"/>
                  <dgm:constr type="w" for="ch" forName="picture2" refType="w" fact="0.1884"/>
                  <dgm:constr type="h" for="ch" forName="picture2" refType="h" fact="0.3768"/>
                  <dgm:constr type="r" for="ch" forName="desTx2" refType="l" refFor="ch" refForName="parTx2"/>
                  <dgm:constr type="l" for="ch" forName="desTx2"/>
                  <dgm:constr type="t" for="ch" forName="desTx2" refType="t" refFor="ch" refForName="parTx2"/>
                  <dgm:constr type="h" for="ch" forName="desTx2" refType="h" refFor="ch" refForName="parTx2"/>
                </dgm:constrLst>
              </dgm:if>
              <dgm:else name="Name21">
                <dgm:alg type="composite">
                  <dgm:param type="ar" val="1.5073"/>
                </dgm:alg>
                <dgm:constrLst>
                  <dgm:constr type="primFontSz" for="ch" forName="parTx1" op="equ" val="65"/>
                  <dgm:constr type="primFontSz" for="ch" forName="parTx2" refType="primFontSz" refFor="ch" refForName="parTx1" op="equ"/>
                  <dgm:constr type="userD" refType="w" fact="0.025"/>
                  <dgm:constr type="ctrX" for="ch" forName="dot1" refType="w" fact="0.5726"/>
                  <dgm:constr type="ctrY" for="ch" forName="dot1" refType="h" fact="0.5911"/>
                  <dgm:constr type="w" for="ch" forName="dot1" refType="userD"/>
                  <dgm:constr type="h" for="ch" forName="dot1" refType="userD"/>
                  <dgm:constr type="ctrX" for="ch" forName="dot2" refType="w" fact="0.5945"/>
                  <dgm:constr type="ctrY" for="ch" forName="dot2" refType="h" fact="0.644"/>
                  <dgm:constr type="w" for="ch" forName="dot2" refType="userD"/>
                  <dgm:constr type="h" for="ch" forName="dot2" refType="userD"/>
                  <dgm:constr type="ctrX" for="ch" forName="dot3" refType="w" fact="0.6206"/>
                  <dgm:constr type="ctrY" for="ch" forName="dot3" refType="h" fact="0.6898"/>
                  <dgm:constr type="w" for="ch" forName="dot3" refType="userD"/>
                  <dgm:constr type="h" for="ch" forName="dot3" refType="userD"/>
                  <dgm:constr type="ctrX" for="ch" forName="dotArrow1" refType="w" fact="0.5894"/>
                  <dgm:constr type="ctrY" for="ch" forName="dotArrow1" refType="h" fact="0.0587"/>
                  <dgm:constr type="w" for="ch" forName="dotArrow1" refType="userD"/>
                  <dgm:constr type="h" for="ch" forName="dotArrow1" refType="userD"/>
                  <dgm:constr type="ctrX" for="ch" forName="dotArrow2" refType="w" fact="0.556"/>
                  <dgm:constr type="ctrY" for="ch" forName="dotArrow2" refType="h" fact="0.0287"/>
                  <dgm:constr type="w" for="ch" forName="dotArrow2" refType="userD"/>
                  <dgm:constr type="h" for="ch" forName="dotArrow2" refType="userD"/>
                  <dgm:constr type="ctrX" for="ch" forName="dotArrow3" refType="w" fact="0.5227"/>
                  <dgm:constr type="ctrY" for="ch" forName="dotArrow3" refType="h" fact="-0.0013"/>
                  <dgm:constr type="w" for="ch" forName="dotArrow3" refType="userD"/>
                  <dgm:constr type="h" for="ch" forName="dotArrow3" refType="userD"/>
                  <dgm:constr type="ctrX" for="ch" forName="dotArrow4" refType="w" fact="0.4894"/>
                  <dgm:constr type="ctrY" for="ch" forName="dotArrow4" refType="h" fact="0.0287"/>
                  <dgm:constr type="w" for="ch" forName="dotArrow4" refType="userD"/>
                  <dgm:constr type="h" for="ch" forName="dotArrow4" refType="userD"/>
                  <dgm:constr type="ctrX" for="ch" forName="dotArrow5" refType="w" fact="0.456"/>
                  <dgm:constr type="ctrY" for="ch" forName="dotArrow5" refType="h" fact="0.0587"/>
                  <dgm:constr type="w" for="ch" forName="dotArrow5" refType="userD"/>
                  <dgm:constr type="h" for="ch" forName="dotArrow5" refType="userD"/>
                  <dgm:constr type="ctrX" for="ch" forName="dotArrow6" refType="w" fact="0.5227"/>
                  <dgm:constr type="ctrY" for="ch" forName="dotArrow6" refType="h" fact="0.062"/>
                  <dgm:constr type="w" for="ch" forName="dotArrow6" refType="userD"/>
                  <dgm:constr type="h" for="ch" forName="dotArrow6" refType="userD"/>
                  <dgm:constr type="ctrX" for="ch" forName="dotArrow7" refType="w" fact="0.5227"/>
                  <dgm:constr type="ctrY" for="ch" forName="dotArrow7" refType="h" fact="0.1253"/>
                  <dgm:constr type="w" for="ch" forName="dotArrow7" refType="userD"/>
                  <dgm:constr type="h" for="ch" forName="dotArrow7" refType="userD"/>
                  <dgm:constr type="r" for="ch" forName="parTx1" refType="w" fact="0.7386"/>
                  <dgm:constr type="t" for="ch" forName="parTx1" refType="h" fact="0.8086"/>
                  <dgm:constr type="w" for="ch" forName="parTx1" refType="w" fact="0.5392"/>
                  <dgm:constr type="h" for="ch" forName="parTx1" refType="h" fact="0.218"/>
                  <dgm:constr type="ctrX" for="ch" forName="picture1" refType="w" fact="0.7631"/>
                  <dgm:constr type="ctrY" for="ch" forName="picture1" refType="h" fact="0.7834"/>
                  <dgm:constr type="w" for="ch" forName="picture1" refType="w" fact="0.25"/>
                  <dgm:constr type="h" for="ch" forName="picture1" refType="h" fact="0.3768"/>
                  <dgm:constr type="r" for="ch" forName="parTx2" refType="w" fact="0.5107"/>
                  <dgm:constr type="t" for="ch" forName="parTx2" refType="h" fact="0.3822"/>
                  <dgm:constr type="w" for="ch" forName="parTx2" refType="w" fact="0.5392"/>
                  <dgm:constr type="h" for="ch" forName="parTx2" refType="h" fact="0.218"/>
                  <dgm:constr type="ctrX" for="ch" forName="picture2" refType="w" fact="0.5352"/>
                  <dgm:constr type="ctrY" for="ch" forName="picture2" refType="h" fact="0.357"/>
                  <dgm:constr type="w" for="ch" forName="picture2" refType="w" fact="0.25"/>
                  <dgm:constr type="h" for="ch" forName="picture2" refType="h" fact="0.3768"/>
                </dgm:constrLst>
              </dgm:else>
            </dgm:choose>
          </dgm:else>
        </dgm:choose>
      </dgm:if>
      <dgm:if name="Name22" axis="ch" ptType="node" func="cnt" op="equ" val="3">
        <dgm:choose name="Name23">
          <dgm:if name="Name24" func="var" arg="dir" op="equ" val="norm">
            <dgm:choose name="Name25">
              <dgm:if name="Name26"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2981"/>
                  <dgm:constr type="ctrY" for="ch" forName="dot1" refType="h" fact="0.763"/>
                  <dgm:constr type="w" for="ch" forName="dot1" refType="userD"/>
                  <dgm:constr type="h" for="ch" forName="dot1" refType="userD"/>
                  <dgm:constr type="ctrX" for="ch" forName="dot2" refType="w" fact="0.2676"/>
                  <dgm:constr type="ctrY" for="ch" forName="dot2" refType="h" fact="0.7887"/>
                  <dgm:constr type="w" for="ch" forName="dot2" refType="userD"/>
                  <dgm:constr type="h" for="ch" forName="dot2" refType="userD"/>
                  <dgm:constr type="ctrX" for="ch" forName="dot3" refType="w" fact="0.2357"/>
                  <dgm:constr type="ctrY" for="ch" forName="dot3" refType="h" fact="0.809"/>
                  <dgm:constr type="w" for="ch" forName="dot3" refType="userD"/>
                  <dgm:constr type="h" for="ch" forName="dot3" refType="userD"/>
                  <dgm:constr type="ctrX" for="ch" forName="dot4" refType="w" fact="0.4445"/>
                  <dgm:constr type="ctrY" for="ch" forName="dot4" refType="h" fact="0.4655"/>
                  <dgm:constr type="w" for="ch" forName="dot4" refType="userD"/>
                  <dgm:constr type="h" for="ch" forName="dot4" refType="userD"/>
                  <dgm:constr type="ctrX" for="ch" forName="dot5" refType="w" fact="0.4323"/>
                  <dgm:constr type="ctrY" for="ch" forName="dot5" refType="h" fact="0.5178"/>
                  <dgm:constr type="w" for="ch" forName="dot5" refType="userD"/>
                  <dgm:constr type="h" for="ch" forName="dot5" refType="userD"/>
                  <dgm:constr type="ctrX" for="ch" forName="dotArrow1" refType="w" fact="0.4236"/>
                  <dgm:constr type="ctrY" for="ch" forName="dotArrow1" refType="h" fact="0.0718"/>
                  <dgm:constr type="w" for="ch" forName="dotArrow1" refType="userD"/>
                  <dgm:constr type="h" for="ch" forName="dotArrow1" refType="userD"/>
                  <dgm:constr type="ctrX" for="ch" forName="dotArrow2" refType="w" fact="0.446"/>
                  <dgm:constr type="ctrY" for="ch" forName="dotArrow2" refType="h" fact="0.0468"/>
                  <dgm:constr type="w" for="ch" forName="dotArrow2" refType="userD"/>
                  <dgm:constr type="h" for="ch" forName="dotArrow2" refType="userD"/>
                  <dgm:constr type="ctrX" for="ch" forName="dotArrow3" refType="w" fact="0.4685"/>
                  <dgm:constr type="ctrY" for="ch" forName="dotArrow3" refType="h" fact="0.0218"/>
                  <dgm:constr type="w" for="ch" forName="dotArrow3" refType="userD"/>
                  <dgm:constr type="h" for="ch" forName="dotArrow3" refType="userD"/>
                  <dgm:constr type="ctrX" for="ch" forName="dotArrow4" refType="w" fact="0.491"/>
                  <dgm:constr type="ctrY" for="ch" forName="dotArrow4" refType="h" fact="0.0468"/>
                  <dgm:constr type="w" for="ch" forName="dotArrow4" refType="userD"/>
                  <dgm:constr type="h" for="ch" forName="dotArrow4" refType="userD"/>
                  <dgm:constr type="ctrX" for="ch" forName="dotArrow5" refType="w" fact="0.5135"/>
                  <dgm:constr type="ctrY" for="ch" forName="dotArrow5" refType="h" fact="0.0718"/>
                  <dgm:constr type="w" for="ch" forName="dotArrow5" refType="userD"/>
                  <dgm:constr type="h" for="ch" forName="dotArrow5" refType="userD"/>
                  <dgm:constr type="ctrX" for="ch" forName="dotArrow6" refType="w" fact="0.4685"/>
                  <dgm:constr type="ctrY" for="ch" forName="dotArrow6" refType="h" fact="0.0745"/>
                  <dgm:constr type="w" for="ch" forName="dotArrow6" refType="userD"/>
                  <dgm:constr type="h" for="ch" forName="dotArrow6" refType="userD"/>
                  <dgm:constr type="ctrX" for="ch" forName="dotArrow7" refType="w" fact="0.4685"/>
                  <dgm:constr type="ctrY" for="ch" forName="dotArrow7" refType="h" fact="0.1273"/>
                  <dgm:constr type="w" for="ch" forName="dotArrow7" refType="userD"/>
                  <dgm:constr type="h" for="ch" forName="dotArrow7" refType="userD"/>
                  <dgm:constr type="l" for="ch" forName="parTx1" refType="w" fact="0.1487"/>
                  <dgm:constr type="t" for="ch" forName="parTx1" refType="h" fact="0.8596"/>
                  <dgm:constr type="w" for="ch" forName="parTx1" refType="w" fact="0.3491"/>
                  <dgm:constr type="h" for="ch" forName="parTx1" refType="h" fact="0.1638"/>
                  <dgm:constr type="ctrX" for="ch" forName="picture1" refType="w" fact="0.1328"/>
                  <dgm:constr type="ctrY" for="ch" forName="picture1" refType="h" fact="0.8361"/>
                  <dgm:constr type="w" for="ch" forName="picture1" refType="w" fact="0.1618"/>
                  <dgm:constr type="h" for="ch" forName="picture1" refType="h" fact="0.2832"/>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732"/>
                  <dgm:constr type="t" for="ch" forName="parTx2" refType="h" fact="0.6469"/>
                  <dgm:constr type="w" for="ch" forName="parTx2" refType="w" fact="0.3491"/>
                  <dgm:constr type="h" for="ch" forName="parTx2" refType="h" fact="0.1638"/>
                  <dgm:constr type="ctrX" for="ch" forName="picture2" refType="w" fact="0.3573"/>
                  <dgm:constr type="ctrY" for="ch" forName="picture2" refType="h" fact="0.6234"/>
                  <dgm:constr type="w" for="ch" forName="picture2" refType="w" fact="0.1618"/>
                  <dgm:constr type="h" for="ch" forName="picture2" refType="h" fact="0.2832"/>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4763"/>
                  <dgm:constr type="t" for="ch" forName="parTx3" refType="h" fact="0.3243"/>
                  <dgm:constr type="w" for="ch" forName="parTx3" refType="w" fact="0.3491"/>
                  <dgm:constr type="h" for="ch" forName="parTx3" refType="h" fact="0.1638"/>
                  <dgm:constr type="ctrX" for="ch" forName="picture3" refType="w" fact="0.4604"/>
                  <dgm:constr type="ctrY" for="ch" forName="picture3" refType="h" fact="0.3008"/>
                  <dgm:constr type="w" for="ch" forName="picture3" refType="w" fact="0.1618"/>
                  <dgm:constr type="h" for="ch" forName="picture3" refType="h" fact="0.2832"/>
                  <dgm:constr type="l" for="ch" forName="desTx3" refType="r" refFor="ch" refForName="parTx3"/>
                  <dgm:constr type="r" for="ch" forName="desTx3" refType="w"/>
                  <dgm:constr type="t" for="ch" forName="desTx3" refType="t" refFor="ch" refForName="parTx3"/>
                  <dgm:constr type="h" for="ch" forName="desTx3" refType="h" refFor="ch" refForName="parTx3"/>
                </dgm:constrLst>
              </dgm:if>
              <dgm:else name="Name27">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3684"/>
                  <dgm:constr type="ctrY" for="ch" forName="dot1" refType="h" fact="0.763"/>
                  <dgm:constr type="w" for="ch" forName="dot1" refType="userD"/>
                  <dgm:constr type="h" for="ch" forName="dot1" refType="userD"/>
                  <dgm:constr type="ctrX" for="ch" forName="dot2" refType="w" fact="0.3307"/>
                  <dgm:constr type="ctrY" for="ch" forName="dot2" refType="h" fact="0.7887"/>
                  <dgm:constr type="w" for="ch" forName="dot2" refType="userD"/>
                  <dgm:constr type="h" for="ch" forName="dot2" refType="userD"/>
                  <dgm:constr type="ctrX" for="ch" forName="dot3" refType="w" fact="0.2912"/>
                  <dgm:constr type="ctrY" for="ch" forName="dot3" refType="h" fact="0.809"/>
                  <dgm:constr type="w" for="ch" forName="dot3" refType="userD"/>
                  <dgm:constr type="h" for="ch" forName="dot3" refType="userD"/>
                  <dgm:constr type="ctrX" for="ch" forName="dot4" refType="w" fact="0.5494"/>
                  <dgm:constr type="ctrY" for="ch" forName="dot4" refType="h" fact="0.4655"/>
                  <dgm:constr type="w" for="ch" forName="dot4" refType="userD"/>
                  <dgm:constr type="h" for="ch" forName="dot4" refType="userD"/>
                  <dgm:constr type="ctrX" for="ch" forName="dot5" refType="w" fact="0.5342"/>
                  <dgm:constr type="ctrY" for="ch" forName="dot5" refType="h" fact="0.5178"/>
                  <dgm:constr type="w" for="ch" forName="dot5" refType="userD"/>
                  <dgm:constr type="h" for="ch" forName="dot5" refType="userD"/>
                  <dgm:constr type="ctrX" for="ch" forName="dotArrow1" refType="w" fact="0.5234"/>
                  <dgm:constr type="ctrY" for="ch" forName="dotArrow1" refType="h" fact="0.0718"/>
                  <dgm:constr type="w" for="ch" forName="dotArrow1" refType="userD"/>
                  <dgm:constr type="h" for="ch" forName="dotArrow1" refType="userD"/>
                  <dgm:constr type="ctrX" for="ch" forName="dotArrow2" refType="w" fact="0.5512"/>
                  <dgm:constr type="ctrY" for="ch" forName="dotArrow2" refType="h" fact="0.0468"/>
                  <dgm:constr type="w" for="ch" forName="dotArrow2" refType="userD"/>
                  <dgm:constr type="h" for="ch" forName="dotArrow2" refType="userD"/>
                  <dgm:constr type="ctrX" for="ch" forName="dotArrow3" refType="w" fact="0.579"/>
                  <dgm:constr type="ctrY" for="ch" forName="dotArrow3" refType="h" fact="0.0218"/>
                  <dgm:constr type="w" for="ch" forName="dotArrow3" refType="userD"/>
                  <dgm:constr type="h" for="ch" forName="dotArrow3" refType="userD"/>
                  <dgm:constr type="ctrX" for="ch" forName="dotArrow4" refType="w" fact="0.6068"/>
                  <dgm:constr type="ctrY" for="ch" forName="dotArrow4" refType="h" fact="0.0468"/>
                  <dgm:constr type="w" for="ch" forName="dotArrow4" refType="userD"/>
                  <dgm:constr type="h" for="ch" forName="dotArrow4" refType="userD"/>
                  <dgm:constr type="ctrX" for="ch" forName="dotArrow5" refType="w" fact="0.6346"/>
                  <dgm:constr type="ctrY" for="ch" forName="dotArrow5" refType="h" fact="0.0718"/>
                  <dgm:constr type="w" for="ch" forName="dotArrow5" refType="userD"/>
                  <dgm:constr type="h" for="ch" forName="dotArrow5" refType="userD"/>
                  <dgm:constr type="ctrX" for="ch" forName="dotArrow6" refType="w" fact="0.579"/>
                  <dgm:constr type="ctrY" for="ch" forName="dotArrow6" refType="h" fact="0.0745"/>
                  <dgm:constr type="w" for="ch" forName="dotArrow6" refType="userD"/>
                  <dgm:constr type="h" for="ch" forName="dotArrow6" refType="userD"/>
                  <dgm:constr type="ctrX" for="ch" forName="dotArrow7" refType="w" fact="0.579"/>
                  <dgm:constr type="ctrY" for="ch" forName="dotArrow7" refType="h" fact="0.1273"/>
                  <dgm:constr type="w" for="ch" forName="dotArrow7" refType="userD"/>
                  <dgm:constr type="h" for="ch" forName="dotArrow7" refType="userD"/>
                  <dgm:constr type="l" for="ch" forName="parTx1" refType="w" fact="0.1837"/>
                  <dgm:constr type="t" for="ch" forName="parTx1" refType="h" fact="0.8551"/>
                  <dgm:constr type="w" for="ch" forName="parTx1" refType="w" fact="0.4314"/>
                  <dgm:constr type="h" for="ch" forName="parTx1" refType="h" fact="0.1638"/>
                  <dgm:constr type="ctrX" for="ch" forName="picture1" refType="w" fact="0.1641"/>
                  <dgm:constr type="ctrY" for="ch" forName="picture1" refType="h" fact="0.8361"/>
                  <dgm:constr type="w" for="ch" forName="picture1" refType="w" fact="0.2"/>
                  <dgm:constr type="h" for="ch" forName="picture1" refType="h" fact="0.2832"/>
                  <dgm:constr type="l" for="ch" forName="parTx2" refType="w" fact="0.4612"/>
                  <dgm:constr type="t" for="ch" forName="parTx2" refType="h" fact="0.6424"/>
                  <dgm:constr type="w" for="ch" forName="parTx2" refType="w" fact="0.4314"/>
                  <dgm:constr type="h" for="ch" forName="parTx2" refType="h" fact="0.1638"/>
                  <dgm:constr type="ctrX" for="ch" forName="picture2" refType="w" fact="0.4416"/>
                  <dgm:constr type="ctrY" for="ch" forName="picture2" refType="h" fact="0.6234"/>
                  <dgm:constr type="w" for="ch" forName="picture2" refType="w" fact="0.2"/>
                  <dgm:constr type="h" for="ch" forName="picture2" refType="h" fact="0.2832"/>
                  <dgm:constr type="l" for="ch" forName="parTx3" refType="w" fact="0.5886"/>
                  <dgm:constr type="t" for="ch" forName="parTx3" refType="h" fact="0.3198"/>
                  <dgm:constr type="w" for="ch" forName="parTx3" refType="w" fact="0.4314"/>
                  <dgm:constr type="h" for="ch" forName="parTx3" refType="h" fact="0.1638"/>
                  <dgm:constr type="ctrX" for="ch" forName="picture3" refType="w" fact="0.569"/>
                  <dgm:constr type="ctrY" for="ch" forName="picture3" refType="h" fact="0.3008"/>
                  <dgm:constr type="w" for="ch" forName="picture3" refType="w" fact="0.2"/>
                  <dgm:constr type="h" for="ch" forName="picture3" refType="h" fact="0.2832"/>
                </dgm:constrLst>
              </dgm:else>
            </dgm:choose>
          </dgm:if>
          <dgm:else name="Name28">
            <dgm:choose name="Name29">
              <dgm:if name="Name30" axis="des" func="maxDepth" op="gt" val="1">
                <dgm:alg type="composite">
                  <dgm:param type="ar" val="1.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userD" refType="w" fact="0.0162"/>
                  <dgm:constr type="ctrX" for="ch" forName="dot1" refType="w" fact="0.7019"/>
                  <dgm:constr type="ctrY" for="ch" forName="dot1" refType="h" fact="0.763"/>
                  <dgm:constr type="w" for="ch" forName="dot1" refType="userD"/>
                  <dgm:constr type="h" for="ch" forName="dot1" refType="userD"/>
                  <dgm:constr type="ctrX" for="ch" forName="dot2" refType="w" fact="0.7324"/>
                  <dgm:constr type="ctrY" for="ch" forName="dot2" refType="h" fact="0.7887"/>
                  <dgm:constr type="w" for="ch" forName="dot2" refType="userD"/>
                  <dgm:constr type="h" for="ch" forName="dot2" refType="userD"/>
                  <dgm:constr type="ctrX" for="ch" forName="dot3" refType="w" fact="0.7643"/>
                  <dgm:constr type="ctrY" for="ch" forName="dot3" refType="h" fact="0.809"/>
                  <dgm:constr type="w" for="ch" forName="dot3" refType="userD"/>
                  <dgm:constr type="h" for="ch" forName="dot3" refType="userD"/>
                  <dgm:constr type="ctrX" for="ch" forName="dot4" refType="w" fact="0.5555"/>
                  <dgm:constr type="ctrY" for="ch" forName="dot4" refType="h" fact="0.4655"/>
                  <dgm:constr type="w" for="ch" forName="dot4" refType="userD"/>
                  <dgm:constr type="h" for="ch" forName="dot4" refType="userD"/>
                  <dgm:constr type="ctrX" for="ch" forName="dot5" refType="w" fact="0.5677"/>
                  <dgm:constr type="ctrY" for="ch" forName="dot5" refType="h" fact="0.5178"/>
                  <dgm:constr type="w" for="ch" forName="dot5" refType="userD"/>
                  <dgm:constr type="h" for="ch" forName="dot5" refType="userD"/>
                  <dgm:constr type="ctrX" for="ch" forName="dotArrow1" refType="w" fact="0.5764"/>
                  <dgm:constr type="ctrY" for="ch" forName="dotArrow1" refType="h" fact="0.0718"/>
                  <dgm:constr type="w" for="ch" forName="dotArrow1" refType="userD"/>
                  <dgm:constr type="h" for="ch" forName="dotArrow1" refType="userD"/>
                  <dgm:constr type="ctrX" for="ch" forName="dotArrow2" refType="w" fact="0.554"/>
                  <dgm:constr type="ctrY" for="ch" forName="dotArrow2" refType="h" fact="0.0468"/>
                  <dgm:constr type="w" for="ch" forName="dotArrow2" refType="userD"/>
                  <dgm:constr type="h" for="ch" forName="dotArrow2" refType="userD"/>
                  <dgm:constr type="ctrX" for="ch" forName="dotArrow3" refType="w" fact="0.5315"/>
                  <dgm:constr type="ctrY" for="ch" forName="dotArrow3" refType="h" fact="0.0218"/>
                  <dgm:constr type="w" for="ch" forName="dotArrow3" refType="userD"/>
                  <dgm:constr type="h" for="ch" forName="dotArrow3" refType="userD"/>
                  <dgm:constr type="ctrX" for="ch" forName="dotArrow4" refType="w" fact="0.509"/>
                  <dgm:constr type="ctrY" for="ch" forName="dotArrow4" refType="h" fact="0.0468"/>
                  <dgm:constr type="w" for="ch" forName="dotArrow4" refType="userD"/>
                  <dgm:constr type="h" for="ch" forName="dotArrow4" refType="userD"/>
                  <dgm:constr type="ctrX" for="ch" forName="dotArrow5" refType="w" fact="0.4865"/>
                  <dgm:constr type="ctrY" for="ch" forName="dotArrow5" refType="h" fact="0.0718"/>
                  <dgm:constr type="w" for="ch" forName="dotArrow5" refType="userD"/>
                  <dgm:constr type="h" for="ch" forName="dotArrow5" refType="userD"/>
                  <dgm:constr type="ctrX" for="ch" forName="dotArrow6" refType="w" fact="0.5315"/>
                  <dgm:constr type="ctrY" for="ch" forName="dotArrow6" refType="h" fact="0.0745"/>
                  <dgm:constr type="w" for="ch" forName="dotArrow6" refType="userD"/>
                  <dgm:constr type="h" for="ch" forName="dotArrow6" refType="userD"/>
                  <dgm:constr type="ctrX" for="ch" forName="dotArrow7" refType="w" fact="0.5315"/>
                  <dgm:constr type="ctrY" for="ch" forName="dotArrow7" refType="h" fact="0.1273"/>
                  <dgm:constr type="w" for="ch" forName="dotArrow7" refType="userD"/>
                  <dgm:constr type="h" for="ch" forName="dotArrow7" refType="userD"/>
                  <dgm:constr type="r" for="ch" forName="parTx1" refType="w" fact="0.8513"/>
                  <dgm:constr type="t" for="ch" forName="parTx1" refType="h" fact="0.8596"/>
                  <dgm:constr type="w" for="ch" forName="parTx1" refType="w" fact="0.3491"/>
                  <dgm:constr type="h" for="ch" forName="parTx1" refType="h" fact="0.1638"/>
                  <dgm:constr type="ctrX" for="ch" forName="picture1" refType="w" fact="0.8672"/>
                  <dgm:constr type="ctrY" for="ch" forName="picture1" refType="h" fact="0.8361"/>
                  <dgm:constr type="w" for="ch" forName="picture1" refType="w" fact="0.1618"/>
                  <dgm:constr type="h" for="ch" forName="picture1" refType="h" fact="0.2832"/>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268"/>
                  <dgm:constr type="t" for="ch" forName="parTx2" refType="h" fact="0.6469"/>
                  <dgm:constr type="w" for="ch" forName="parTx2" refType="w" fact="0.3491"/>
                  <dgm:constr type="h" for="ch" forName="parTx2" refType="h" fact="0.1638"/>
                  <dgm:constr type="ctrX" for="ch" forName="picture2" refType="w" fact="0.6427"/>
                  <dgm:constr type="ctrY" for="ch" forName="picture2" refType="h" fact="0.6234"/>
                  <dgm:constr type="w" for="ch" forName="picture2" refType="w" fact="0.1618"/>
                  <dgm:constr type="h" for="ch" forName="picture2" refType="h" fact="0.2832"/>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5237"/>
                  <dgm:constr type="t" for="ch" forName="parTx3" refType="h" fact="0.3243"/>
                  <dgm:constr type="w" for="ch" forName="parTx3" refType="w" fact="0.3491"/>
                  <dgm:constr type="h" for="ch" forName="parTx3" refType="h" fact="0.1638"/>
                  <dgm:constr type="ctrX" for="ch" forName="picture3" refType="w" fact="0.5396"/>
                  <dgm:constr type="ctrY" for="ch" forName="picture3" refType="h" fact="0.3008"/>
                  <dgm:constr type="w" for="ch" forName="picture3" refType="w" fact="0.1618"/>
                  <dgm:constr type="h" for="ch" forName="picture3" refType="h" fact="0.2832"/>
                  <dgm:constr type="r" for="ch" forName="desTx3" refType="l" refFor="ch" refForName="parTx3"/>
                  <dgm:constr type="l" for="ch" forName="desTx3"/>
                  <dgm:constr type="t" for="ch" forName="desTx3" refType="t" refFor="ch" refForName="parTx3"/>
                  <dgm:constr type="h" for="ch" forName="desTx3" refType="h" refFor="ch" refForName="parTx3"/>
                </dgm:constrLst>
              </dgm:if>
              <dgm:else name="Name31">
                <dgm:alg type="composite">
                  <dgm:param type="ar" val="1.416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userD" refType="w" fact="0.02"/>
                  <dgm:constr type="ctrX" for="ch" forName="dot1" refType="w" fact="0.6316"/>
                  <dgm:constr type="ctrY" for="ch" forName="dot1" refType="h" fact="0.763"/>
                  <dgm:constr type="w" for="ch" forName="dot1" refType="userD"/>
                  <dgm:constr type="h" for="ch" forName="dot1" refType="userD"/>
                  <dgm:constr type="ctrX" for="ch" forName="dot2" refType="w" fact="0.6693"/>
                  <dgm:constr type="ctrY" for="ch" forName="dot2" refType="h" fact="0.7887"/>
                  <dgm:constr type="w" for="ch" forName="dot2" refType="userD"/>
                  <dgm:constr type="h" for="ch" forName="dot2" refType="userD"/>
                  <dgm:constr type="ctrX" for="ch" forName="dot3" refType="w" fact="0.7088"/>
                  <dgm:constr type="ctrY" for="ch" forName="dot3" refType="h" fact="0.809"/>
                  <dgm:constr type="w" for="ch" forName="dot3" refType="userD"/>
                  <dgm:constr type="h" for="ch" forName="dot3" refType="userD"/>
                  <dgm:constr type="ctrX" for="ch" forName="dot4" refType="w" fact="0.4506"/>
                  <dgm:constr type="ctrY" for="ch" forName="dot4" refType="h" fact="0.4655"/>
                  <dgm:constr type="w" for="ch" forName="dot4" refType="userD"/>
                  <dgm:constr type="h" for="ch" forName="dot4" refType="userD"/>
                  <dgm:constr type="ctrX" for="ch" forName="dot5" refType="w" fact="0.4658"/>
                  <dgm:constr type="ctrY" for="ch" forName="dot5" refType="h" fact="0.5178"/>
                  <dgm:constr type="w" for="ch" forName="dot5" refType="userD"/>
                  <dgm:constr type="h" for="ch" forName="dot5" refType="userD"/>
                  <dgm:constr type="ctrX" for="ch" forName="dotArrow1" refType="w" fact="0.4766"/>
                  <dgm:constr type="ctrY" for="ch" forName="dotArrow1" refType="h" fact="0.0718"/>
                  <dgm:constr type="w" for="ch" forName="dotArrow1" refType="userD"/>
                  <dgm:constr type="h" for="ch" forName="dotArrow1" refType="userD"/>
                  <dgm:constr type="ctrX" for="ch" forName="dotArrow2" refType="w" fact="0.4488"/>
                  <dgm:constr type="ctrY" for="ch" forName="dotArrow2" refType="h" fact="0.0468"/>
                  <dgm:constr type="w" for="ch" forName="dotArrow2" refType="userD"/>
                  <dgm:constr type="h" for="ch" forName="dotArrow2" refType="userD"/>
                  <dgm:constr type="ctrX" for="ch" forName="dotArrow3" refType="w" fact="0.421"/>
                  <dgm:constr type="ctrY" for="ch" forName="dotArrow3" refType="h" fact="0.0218"/>
                  <dgm:constr type="w" for="ch" forName="dotArrow3" refType="userD"/>
                  <dgm:constr type="h" for="ch" forName="dotArrow3" refType="userD"/>
                  <dgm:constr type="ctrX" for="ch" forName="dotArrow4" refType="w" fact="0.3932"/>
                  <dgm:constr type="ctrY" for="ch" forName="dotArrow4" refType="h" fact="0.0468"/>
                  <dgm:constr type="w" for="ch" forName="dotArrow4" refType="userD"/>
                  <dgm:constr type="h" for="ch" forName="dotArrow4" refType="userD"/>
                  <dgm:constr type="ctrX" for="ch" forName="dotArrow5" refType="w" fact="0.3654"/>
                  <dgm:constr type="ctrY" for="ch" forName="dotArrow5" refType="h" fact="0.0718"/>
                  <dgm:constr type="w" for="ch" forName="dotArrow5" refType="userD"/>
                  <dgm:constr type="h" for="ch" forName="dotArrow5" refType="userD"/>
                  <dgm:constr type="ctrX" for="ch" forName="dotArrow6" refType="w" fact="0.421"/>
                  <dgm:constr type="ctrY" for="ch" forName="dotArrow6" refType="h" fact="0.0745"/>
                  <dgm:constr type="w" for="ch" forName="dotArrow6" refType="userD"/>
                  <dgm:constr type="h" for="ch" forName="dotArrow6" refType="userD"/>
                  <dgm:constr type="ctrX" for="ch" forName="dotArrow7" refType="w" fact="0.421"/>
                  <dgm:constr type="ctrY" for="ch" forName="dotArrow7" refType="h" fact="0.1273"/>
                  <dgm:constr type="w" for="ch" forName="dotArrow7" refType="userD"/>
                  <dgm:constr type="h" for="ch" forName="dotArrow7" refType="userD"/>
                  <dgm:constr type="r" for="ch" forName="parTx1" refType="w" fact="0.8163"/>
                  <dgm:constr type="t" for="ch" forName="parTx1" refType="h" fact="0.8551"/>
                  <dgm:constr type="w" for="ch" forName="parTx1" refType="w" fact="0.4314"/>
                  <dgm:constr type="h" for="ch" forName="parTx1" refType="h" fact="0.1638"/>
                  <dgm:constr type="ctrX" for="ch" forName="picture1" refType="w" fact="0.8359"/>
                  <dgm:constr type="ctrY" for="ch" forName="picture1" refType="h" fact="0.8361"/>
                  <dgm:constr type="w" for="ch" forName="picture1" refType="w" fact="0.2"/>
                  <dgm:constr type="h" for="ch" forName="picture1" refType="h" fact="0.2832"/>
                  <dgm:constr type="r" for="ch" forName="parTx2" refType="w" fact="0.5388"/>
                  <dgm:constr type="t" for="ch" forName="parTx2" refType="h" fact="0.6424"/>
                  <dgm:constr type="w" for="ch" forName="parTx2" refType="w" fact="0.4314"/>
                  <dgm:constr type="h" for="ch" forName="parTx2" refType="h" fact="0.1638"/>
                  <dgm:constr type="ctrX" for="ch" forName="picture2" refType="w" fact="0.5584"/>
                  <dgm:constr type="ctrY" for="ch" forName="picture2" refType="h" fact="0.6234"/>
                  <dgm:constr type="w" for="ch" forName="picture2" refType="w" fact="0.2"/>
                  <dgm:constr type="h" for="ch" forName="picture2" refType="h" fact="0.2832"/>
                  <dgm:constr type="r" for="ch" forName="parTx3" refType="w" fact="0.4114"/>
                  <dgm:constr type="t" for="ch" forName="parTx3" refType="h" fact="0.3198"/>
                  <dgm:constr type="w" for="ch" forName="parTx3" refType="w" fact="0.4314"/>
                  <dgm:constr type="h" for="ch" forName="parTx3" refType="h" fact="0.1638"/>
                  <dgm:constr type="ctrX" for="ch" forName="picture3" refType="w" fact="0.431"/>
                  <dgm:constr type="ctrY" for="ch" forName="picture3" refType="h" fact="0.3008"/>
                  <dgm:constr type="w" for="ch" forName="picture3" refType="w" fact="0.2"/>
                  <dgm:constr type="h" for="ch" forName="picture3" refType="h" fact="0.2832"/>
                </dgm:constrLst>
              </dgm:else>
            </dgm:choose>
          </dgm:else>
        </dgm:choose>
      </dgm:if>
      <dgm:if name="Name32" axis="ch" ptType="node" func="cnt" op="equ" val="4">
        <dgm:choose name="Name33">
          <dgm:if name="Name34" func="var" arg="dir" op="equ" val="norm">
            <dgm:choose name="Name35">
              <dgm:if name="Name36"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3253"/>
                  <dgm:constr type="ctrY" for="ch" forName="dot1" refType="h" fact="0.8215"/>
                  <dgm:constr type="w" for="ch" forName="dot1" refType="userD"/>
                  <dgm:constr type="h" for="ch" forName="dot1" refType="userD"/>
                  <dgm:constr type="ctrX" for="ch" forName="dot2" refType="w" fact="0.2949"/>
                  <dgm:constr type="ctrY" for="ch" forName="dot2" refType="h" fact="0.843"/>
                  <dgm:constr type="w" for="ch" forName="dot2" refType="userD"/>
                  <dgm:constr type="h" for="ch" forName="dot2" refType="userD"/>
                  <dgm:constr type="ctrX" for="ch" forName="dot3" refType="w" fact="0.2635"/>
                  <dgm:constr type="ctrY" for="ch" forName="dot3" refType="h" fact="0.8607"/>
                  <dgm:constr type="w" for="ch" forName="dot3" refType="userD"/>
                  <dgm:constr type="h" for="ch" forName="dot3" refType="userD"/>
                  <dgm:constr type="ctrX" for="ch" forName="dot4" refType="w" fact="0.2313"/>
                  <dgm:constr type="ctrY" for="ch" forName="dot4" refType="h" fact="0.8745"/>
                  <dgm:constr type="w" for="ch" forName="dot4" refType="userD"/>
                  <dgm:constr type="h" for="ch" forName="dot4" refType="userD"/>
                  <dgm:constr type="ctrX" for="ch" forName="dot5" refType="w" fact="0.4675"/>
                  <dgm:constr type="ctrY" for="ch" forName="dot5" refType="h" fact="0.6419"/>
                  <dgm:constr type="w" for="ch" forName="dot5" refType="userD"/>
                  <dgm:constr type="h" for="ch" forName="dot5" refType="userD"/>
                  <dgm:constr type="ctrX" for="ch" forName="dot6" refType="w" fact="0.5486"/>
                  <dgm:constr type="ctrY" for="ch" forName="dot6" refType="h" fact="0.3784"/>
                  <dgm:constr type="w" for="ch" forName="dot6" refType="userD"/>
                  <dgm:constr type="h" for="ch" forName="dot6" refType="userD"/>
                  <dgm:constr type="ctrX" for="ch" forName="dotArrow1" refType="w" fact="0.5267"/>
                  <dgm:constr type="ctrY" for="ch" forName="dotArrow1" refType="h" fact="0.0496"/>
                  <dgm:constr type="w" for="ch" forName="dotArrow1" refType="userD"/>
                  <dgm:constr type="h" for="ch" forName="dotArrow1" refType="userD"/>
                  <dgm:constr type="ctrX" for="ch" forName="dotArrow2" refType="w" fact="0.5462"/>
                  <dgm:constr type="ctrY" for="ch" forName="dotArrow2" refType="h" fact="0.0282"/>
                  <dgm:constr type="w" for="ch" forName="dotArrow2" refType="userD"/>
                  <dgm:constr type="h" for="ch" forName="dotArrow2" refType="userD"/>
                  <dgm:constr type="ctrX" for="ch" forName="dotArrow3" refType="w" fact="0.5657"/>
                  <dgm:constr type="ctrY" for="ch" forName="dotArrow3" refType="h" fact="0.0068"/>
                  <dgm:constr type="w" for="ch" forName="dotArrow3" refType="userD"/>
                  <dgm:constr type="h" for="ch" forName="dotArrow3" refType="userD"/>
                  <dgm:constr type="ctrX" for="ch" forName="dotArrow4" refType="w" fact="0.5851"/>
                  <dgm:constr type="ctrY" for="ch" forName="dotArrow4" refType="h" fact="0.0282"/>
                  <dgm:constr type="w" for="ch" forName="dotArrow4" refType="userD"/>
                  <dgm:constr type="h" for="ch" forName="dotArrow4" refType="userD"/>
                  <dgm:constr type="ctrX" for="ch" forName="dotArrow5" refType="w" fact="0.6046"/>
                  <dgm:constr type="ctrY" for="ch" forName="dotArrow5" refType="h" fact="0.0496"/>
                  <dgm:constr type="w" for="ch" forName="dotArrow5" refType="userD"/>
                  <dgm:constr type="h" for="ch" forName="dotArrow5" refType="userD"/>
                  <dgm:constr type="ctrX" for="ch" forName="dotArrow6" refType="w" fact="0.5657"/>
                  <dgm:constr type="ctrY" for="ch" forName="dotArrow6" refType="h" fact="0.052"/>
                  <dgm:constr type="w" for="ch" forName="dotArrow6" refType="userD"/>
                  <dgm:constr type="h" for="ch" forName="dotArrow6" refType="userD"/>
                  <dgm:constr type="ctrX" for="ch" forName="dotArrow7" refType="w" fact="0.5657"/>
                  <dgm:constr type="ctrY" for="ch" forName="dotArrow7" refType="h" fact="0.0972"/>
                  <dgm:constr type="w" for="ch" forName="dotArrow7" refType="userD"/>
                  <dgm:constr type="h" for="ch" forName="dotArrow7" refType="userD"/>
                  <dgm:constr type="l" for="ch" forName="parTx1" refType="w" fact="0.1466"/>
                  <dgm:constr type="t" for="ch" forName="parTx1" refType="h" fact="0.9095"/>
                  <dgm:constr type="w" for="ch" forName="parTx1" refType="w" fact="0.294"/>
                  <dgm:constr type="h" for="ch" forName="parTx1" refType="h" fact="0.1222"/>
                  <dgm:constr type="ctrX" for="ch" forName="picture1" refType="w" fact="0.1333"/>
                  <dgm:constr type="ctrY" for="ch" forName="picture1" refType="h" fact="0.8922"/>
                  <dgm:constr type="w" for="ch" forName="picture1" refType="w" fact="0.1363"/>
                  <dgm:constr type="h" for="ch" forName="picture1" refType="h" fact="0.211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105"/>
                  <dgm:constr type="t" for="ch" forName="parTx2" refType="h" fact="0.762"/>
                  <dgm:constr type="w" for="ch" forName="parTx2" refType="w" fact="0.294"/>
                  <dgm:constr type="h" for="ch" forName="parTx2" refType="h" fact="0.1222"/>
                  <dgm:constr type="ctrX" for="ch" forName="picture2" refType="w" fact="0.3972"/>
                  <dgm:constr type="ctrY" for="ch" forName="picture2" refType="h" fact="0.7447"/>
                  <dgm:constr type="w" for="ch" forName="picture2" refType="w" fact="0.1363"/>
                  <dgm:constr type="h" for="ch" forName="picture2" refType="h" fact="0.211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229"/>
                  <dgm:constr type="t" for="ch" forName="parTx3" refType="h" fact="0.5294"/>
                  <dgm:constr type="w" for="ch" forName="parTx3" refType="w" fact="0.294"/>
                  <dgm:constr type="h" for="ch" forName="parTx3" refType="h" fact="0.1222"/>
                  <dgm:constr type="ctrX" for="ch" forName="picture3" refType="w" fact="0.5095"/>
                  <dgm:constr type="ctrY" for="ch" forName="picture3" refType="h" fact="0.5121"/>
                  <dgm:constr type="w" for="ch" forName="picture3" refType="w" fact="0.1363"/>
                  <dgm:constr type="h" for="ch" forName="picture3" refType="h" fact="0.211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722"/>
                  <dgm:constr type="t" for="ch" forName="parTx4" refType="h" fact="0.2523"/>
                  <dgm:constr type="w" for="ch" forName="parTx4" refType="w" fact="0.294"/>
                  <dgm:constr type="h" for="ch" forName="parTx4" refType="h" fact="0.1222"/>
                  <dgm:constr type="ctrX" for="ch" forName="picture4" refType="w" fact="0.5588"/>
                  <dgm:constr type="ctrY" for="ch" forName="picture4" refType="h" fact="0.235"/>
                  <dgm:constr type="w" for="ch" forName="picture4" refType="w" fact="0.1363"/>
                  <dgm:constr type="h" for="ch" forName="picture4" refType="h" fact="0.2113"/>
                  <dgm:constr type="l" for="ch" forName="desTx4" refType="r" refFor="ch" refForName="parTx4"/>
                  <dgm:constr type="r" for="ch" forName="desTx4" refType="w"/>
                  <dgm:constr type="t" for="ch" forName="desTx4" refType="t" refFor="ch" refForName="parTx4"/>
                  <dgm:constr type="h" for="ch" forName="desTx4" refType="h" refFor="ch" refForName="parTx4"/>
                </dgm:constrLst>
              </dgm:if>
              <dgm:else name="Name37">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3978"/>
                  <dgm:constr type="ctrY" for="ch" forName="dot1" refType="h" fact="0.8215"/>
                  <dgm:constr type="w" for="ch" forName="dot1" refType="userD"/>
                  <dgm:constr type="h" for="ch" forName="dot1" refType="userD"/>
                  <dgm:constr type="ctrX" for="ch" forName="dot2" refType="w" fact="0.3606"/>
                  <dgm:constr type="ctrY" for="ch" forName="dot2" refType="h" fact="0.843"/>
                  <dgm:constr type="w" for="ch" forName="dot2" refType="userD"/>
                  <dgm:constr type="h" for="ch" forName="dot2" refType="userD"/>
                  <dgm:constr type="ctrX" for="ch" forName="dot3" refType="w" fact="0.3223"/>
                  <dgm:constr type="ctrY" for="ch" forName="dot3" refType="h" fact="0.8607"/>
                  <dgm:constr type="w" for="ch" forName="dot3" refType="userD"/>
                  <dgm:constr type="h" for="ch" forName="dot3" refType="userD"/>
                  <dgm:constr type="ctrX" for="ch" forName="dot4" refType="w" fact="0.2829"/>
                  <dgm:constr type="ctrY" for="ch" forName="dot4" refType="h" fact="0.8745"/>
                  <dgm:constr type="w" for="ch" forName="dot4" refType="userD"/>
                  <dgm:constr type="h" for="ch" forName="dot4" refType="userD"/>
                  <dgm:constr type="ctrX" for="ch" forName="dot5" refType="w" fact="0.5717"/>
                  <dgm:constr type="ctrY" for="ch" forName="dot5" refType="h" fact="0.6419"/>
                  <dgm:constr type="w" for="ch" forName="dot5" refType="userD"/>
                  <dgm:constr type="h" for="ch" forName="dot5" refType="userD"/>
                  <dgm:constr type="ctrX" for="ch" forName="dot6" refType="w" fact="0.6709"/>
                  <dgm:constr type="ctrY" for="ch" forName="dot6" refType="h" fact="0.3784"/>
                  <dgm:constr type="w" for="ch" forName="dot6" refType="userD"/>
                  <dgm:constr type="h" for="ch" forName="dot6" refType="userD"/>
                  <dgm:constr type="ctrX" for="ch" forName="dotArrow1" refType="w" fact="0.6441"/>
                  <dgm:constr type="ctrY" for="ch" forName="dotArrow1" refType="h" fact="0.0496"/>
                  <dgm:constr type="w" for="ch" forName="dotArrow1" refType="userD"/>
                  <dgm:constr type="h" for="ch" forName="dotArrow1" refType="userD"/>
                  <dgm:constr type="ctrX" for="ch" forName="dotArrow2" refType="w" fact="0.6679"/>
                  <dgm:constr type="ctrY" for="ch" forName="dotArrow2" refType="h" fact="0.0282"/>
                  <dgm:constr type="w" for="ch" forName="dotArrow2" refType="userD"/>
                  <dgm:constr type="h" for="ch" forName="dotArrow2" refType="userD"/>
                  <dgm:constr type="ctrX" for="ch" forName="dotArrow3" refType="w" fact="0.6917"/>
                  <dgm:constr type="ctrY" for="ch" forName="dotArrow3" refType="h" fact="0.0068"/>
                  <dgm:constr type="w" for="ch" forName="dotArrow3" refType="userD"/>
                  <dgm:constr type="h" for="ch" forName="dotArrow3" refType="userD"/>
                  <dgm:constr type="ctrX" for="ch" forName="dotArrow4" refType="w" fact="0.7155"/>
                  <dgm:constr type="ctrY" for="ch" forName="dotArrow4" refType="h" fact="0.0282"/>
                  <dgm:constr type="w" for="ch" forName="dotArrow4" refType="userD"/>
                  <dgm:constr type="h" for="ch" forName="dotArrow4" refType="userD"/>
                  <dgm:constr type="ctrX" for="ch" forName="dotArrow5" refType="w" fact="0.7394"/>
                  <dgm:constr type="ctrY" for="ch" forName="dotArrow5" refType="h" fact="0.0496"/>
                  <dgm:constr type="w" for="ch" forName="dotArrow5" refType="userD"/>
                  <dgm:constr type="h" for="ch" forName="dotArrow5" refType="userD"/>
                  <dgm:constr type="ctrX" for="ch" forName="dotArrow6" refType="w" fact="0.6917"/>
                  <dgm:constr type="ctrY" for="ch" forName="dotArrow6" refType="h" fact="0.052"/>
                  <dgm:constr type="w" for="ch" forName="dotArrow6" refType="userD"/>
                  <dgm:constr type="h" for="ch" forName="dotArrow6" refType="userD"/>
                  <dgm:constr type="ctrX" for="ch" forName="dotArrow7" refType="w" fact="0.6917"/>
                  <dgm:constr type="ctrY" for="ch" forName="dotArrow7" refType="h" fact="0.0972"/>
                  <dgm:constr type="w" for="ch" forName="dotArrow7" refType="userD"/>
                  <dgm:constr type="h" for="ch" forName="dotArrow7" refType="userD"/>
                  <dgm:constr type="l" for="ch" forName="parTx1" refType="w" fact="0.1793"/>
                  <dgm:constr type="t" for="ch" forName="parTx1" refType="h" fact="0.9064"/>
                  <dgm:constr type="w" for="ch" forName="parTx1" refType="w" fact="0.3595"/>
                  <dgm:constr type="h" for="ch" forName="parTx1" refType="h" fact="0.1222"/>
                  <dgm:constr type="ctrX" for="ch" forName="picture1" refType="w" fact="0.163"/>
                  <dgm:constr type="ctrY" for="ch" forName="picture1" refType="h" fact="0.8922"/>
                  <dgm:constr type="w" for="ch" forName="picture1" refType="w" fact="0.1667"/>
                  <dgm:constr type="h" for="ch" forName="picture1" refType="h" fact="0.2113"/>
                  <dgm:constr type="l" for="ch" forName="parTx2" refType="w" fact="0.502"/>
                  <dgm:constr type="t" for="ch" forName="parTx2" refType="h" fact="0.7589"/>
                  <dgm:constr type="w" for="ch" forName="parTx2" refType="w" fact="0.3595"/>
                  <dgm:constr type="h" for="ch" forName="parTx2" refType="h" fact="0.1222"/>
                  <dgm:constr type="ctrX" for="ch" forName="picture2" refType="w" fact="0.4857"/>
                  <dgm:constr type="ctrY" for="ch" forName="picture2" refType="h" fact="0.7447"/>
                  <dgm:constr type="w" for="ch" forName="picture2" refType="w" fact="0.1667"/>
                  <dgm:constr type="h" for="ch" forName="picture2" refType="h" fact="0.2113"/>
                  <dgm:constr type="l" for="ch" forName="parTx3" refType="w" fact="0.6394"/>
                  <dgm:constr type="t" for="ch" forName="parTx3" refType="h" fact="0.5263"/>
                  <dgm:constr type="w" for="ch" forName="parTx3" refType="w" fact="0.3595"/>
                  <dgm:constr type="h" for="ch" forName="parTx3" refType="h" fact="0.1222"/>
                  <dgm:constr type="ctrX" for="ch" forName="picture3" refType="w" fact="0.6231"/>
                  <dgm:constr type="ctrY" for="ch" forName="picture3" refType="h" fact="0.5121"/>
                  <dgm:constr type="w" for="ch" forName="picture3" refType="w" fact="0.1667"/>
                  <dgm:constr type="h" for="ch" forName="picture3" refType="h" fact="0.2113"/>
                  <dgm:constr type="l" for="ch" forName="parTx4" refType="w" fact="0.6997"/>
                  <dgm:constr type="t" for="ch" forName="parTx4" refType="h" fact="0.2492"/>
                  <dgm:constr type="w" for="ch" forName="parTx4" refType="w" fact="0.3595"/>
                  <dgm:constr type="h" for="ch" forName="parTx4" refType="h" fact="0.1222"/>
                  <dgm:constr type="ctrX" for="ch" forName="picture4" refType="w" fact="0.6834"/>
                  <dgm:constr type="ctrY" for="ch" forName="picture4" refType="h" fact="0.235"/>
                  <dgm:constr type="w" for="ch" forName="picture4" refType="w" fact="0.1667"/>
                  <dgm:constr type="h" for="ch" forName="picture4" refType="h" fact="0.2113"/>
                </dgm:constrLst>
              </dgm:else>
            </dgm:choose>
          </dgm:if>
          <dgm:else name="Name38">
            <dgm:choose name="Name39">
              <dgm:if name="Name40" axis="des" func="maxDepth" op="gt" val="1">
                <dgm:alg type="composite">
                  <dgm:param type="ar" val="1.5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userD" refType="w" fact="0.0136"/>
                  <dgm:constr type="ctrX" for="ch" forName="dot1" refType="w" fact="0.6747"/>
                  <dgm:constr type="ctrY" for="ch" forName="dot1" refType="h" fact="0.8215"/>
                  <dgm:constr type="w" for="ch" forName="dot1" refType="userD"/>
                  <dgm:constr type="h" for="ch" forName="dot1" refType="userD"/>
                  <dgm:constr type="ctrX" for="ch" forName="dot2" refType="w" fact="0.7051"/>
                  <dgm:constr type="ctrY" for="ch" forName="dot2" refType="h" fact="0.843"/>
                  <dgm:constr type="w" for="ch" forName="dot2" refType="userD"/>
                  <dgm:constr type="h" for="ch" forName="dot2" refType="userD"/>
                  <dgm:constr type="ctrX" for="ch" forName="dot3" refType="w" fact="0.7365"/>
                  <dgm:constr type="ctrY" for="ch" forName="dot3" refType="h" fact="0.8607"/>
                  <dgm:constr type="w" for="ch" forName="dot3" refType="userD"/>
                  <dgm:constr type="h" for="ch" forName="dot3" refType="userD"/>
                  <dgm:constr type="ctrX" for="ch" forName="dot4" refType="w" fact="0.7687"/>
                  <dgm:constr type="ctrY" for="ch" forName="dot4" refType="h" fact="0.8745"/>
                  <dgm:constr type="w" for="ch" forName="dot4" refType="userD"/>
                  <dgm:constr type="h" for="ch" forName="dot4" refType="userD"/>
                  <dgm:constr type="ctrX" for="ch" forName="dot5" refType="w" fact="0.5325"/>
                  <dgm:constr type="ctrY" for="ch" forName="dot5" refType="h" fact="0.6419"/>
                  <dgm:constr type="w" for="ch" forName="dot5" refType="userD"/>
                  <dgm:constr type="h" for="ch" forName="dot5" refType="userD"/>
                  <dgm:constr type="ctrX" for="ch" forName="dot6" refType="w" fact="0.4514"/>
                  <dgm:constr type="ctrY" for="ch" forName="dot6" refType="h" fact="0.3784"/>
                  <dgm:constr type="w" for="ch" forName="dot6" refType="userD"/>
                  <dgm:constr type="h" for="ch" forName="dot6" refType="userD"/>
                  <dgm:constr type="ctrX" for="ch" forName="dotArrow1" refType="w" fact="0.4733"/>
                  <dgm:constr type="ctrY" for="ch" forName="dotArrow1" refType="h" fact="0.0496"/>
                  <dgm:constr type="w" for="ch" forName="dotArrow1" refType="userD"/>
                  <dgm:constr type="h" for="ch" forName="dotArrow1" refType="userD"/>
                  <dgm:constr type="ctrX" for="ch" forName="dotArrow2" refType="w" fact="0.4538"/>
                  <dgm:constr type="ctrY" for="ch" forName="dotArrow2" refType="h" fact="0.0282"/>
                  <dgm:constr type="w" for="ch" forName="dotArrow2" refType="userD"/>
                  <dgm:constr type="h" for="ch" forName="dotArrow2" refType="userD"/>
                  <dgm:constr type="ctrX" for="ch" forName="dotArrow3" refType="w" fact="0.4343"/>
                  <dgm:constr type="ctrY" for="ch" forName="dotArrow3" refType="h" fact="0.0068"/>
                  <dgm:constr type="w" for="ch" forName="dotArrow3" refType="userD"/>
                  <dgm:constr type="h" for="ch" forName="dotArrow3" refType="userD"/>
                  <dgm:constr type="ctrX" for="ch" forName="dotArrow4" refType="w" fact="0.4149"/>
                  <dgm:constr type="ctrY" for="ch" forName="dotArrow4" refType="h" fact="0.0282"/>
                  <dgm:constr type="w" for="ch" forName="dotArrow4" refType="userD"/>
                  <dgm:constr type="h" for="ch" forName="dotArrow4" refType="userD"/>
                  <dgm:constr type="ctrX" for="ch" forName="dotArrow5" refType="w" fact="0.3954"/>
                  <dgm:constr type="ctrY" for="ch" forName="dotArrow5" refType="h" fact="0.0496"/>
                  <dgm:constr type="w" for="ch" forName="dotArrow5" refType="userD"/>
                  <dgm:constr type="h" for="ch" forName="dotArrow5" refType="userD"/>
                  <dgm:constr type="ctrX" for="ch" forName="dotArrow6" refType="w" fact="0.4343"/>
                  <dgm:constr type="ctrY" for="ch" forName="dotArrow6" refType="h" fact="0.052"/>
                  <dgm:constr type="w" for="ch" forName="dotArrow6" refType="userD"/>
                  <dgm:constr type="h" for="ch" forName="dotArrow6" refType="userD"/>
                  <dgm:constr type="ctrX" for="ch" forName="dotArrow7" refType="w" fact="0.4343"/>
                  <dgm:constr type="ctrY" for="ch" forName="dotArrow7" refType="h" fact="0.0972"/>
                  <dgm:constr type="w" for="ch" forName="dotArrow7" refType="userD"/>
                  <dgm:constr type="h" for="ch" forName="dotArrow7" refType="userD"/>
                  <dgm:constr type="r" for="ch" forName="parTx1" refType="w" fact="0.8534"/>
                  <dgm:constr type="t" for="ch" forName="parTx1" refType="h" fact="0.9095"/>
                  <dgm:constr type="w" for="ch" forName="parTx1" refType="w" fact="0.294"/>
                  <dgm:constr type="h" for="ch" forName="parTx1" refType="h" fact="0.1222"/>
                  <dgm:constr type="ctrX" for="ch" forName="picture1" refType="w" fact="0.8667"/>
                  <dgm:constr type="ctrY" for="ch" forName="picture1" refType="h" fact="0.8922"/>
                  <dgm:constr type="w" for="ch" forName="picture1" refType="w" fact="0.1363"/>
                  <dgm:constr type="h" for="ch" forName="picture1" refType="h" fact="0.211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895"/>
                  <dgm:constr type="t" for="ch" forName="parTx2" refType="h" fact="0.762"/>
                  <dgm:constr type="w" for="ch" forName="parTx2" refType="w" fact="0.294"/>
                  <dgm:constr type="h" for="ch" forName="parTx2" refType="h" fact="0.1222"/>
                  <dgm:constr type="ctrX" for="ch" forName="picture2" refType="w" fact="0.6028"/>
                  <dgm:constr type="ctrY" for="ch" forName="picture2" refType="h" fact="0.7447"/>
                  <dgm:constr type="w" for="ch" forName="picture2" refType="w" fact="0.1363"/>
                  <dgm:constr type="h" for="ch" forName="picture2" refType="h" fact="0.211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771"/>
                  <dgm:constr type="t" for="ch" forName="parTx3" refType="h" fact="0.5294"/>
                  <dgm:constr type="w" for="ch" forName="parTx3" refType="w" fact="0.294"/>
                  <dgm:constr type="h" for="ch" forName="parTx3" refType="h" fact="0.1222"/>
                  <dgm:constr type="ctrX" for="ch" forName="picture3" refType="w" fact="0.4905"/>
                  <dgm:constr type="ctrY" for="ch" forName="picture3" refType="h" fact="0.5121"/>
                  <dgm:constr type="w" for="ch" forName="picture3" refType="w" fact="0.1363"/>
                  <dgm:constr type="h" for="ch" forName="picture3" refType="h" fact="0.211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278"/>
                  <dgm:constr type="t" for="ch" forName="parTx4" refType="h" fact="0.2523"/>
                  <dgm:constr type="w" for="ch" forName="parTx4" refType="w" fact="0.294"/>
                  <dgm:constr type="h" for="ch" forName="parTx4" refType="h" fact="0.1222"/>
                  <dgm:constr type="ctrX" for="ch" forName="picture4" refType="w" fact="0.4412"/>
                  <dgm:constr type="ctrY" for="ch" forName="picture4" refType="h" fact="0.235"/>
                  <dgm:constr type="w" for="ch" forName="picture4" refType="w" fact="0.1363"/>
                  <dgm:constr type="h" for="ch" forName="picture4" refType="h" fact="0.2113"/>
                  <dgm:constr type="r" for="ch" forName="desTx4" refType="l" refFor="ch" refForName="parTx4"/>
                  <dgm:constr type="l" for="ch" forName="desTx4"/>
                  <dgm:constr type="t" for="ch" forName="desTx4" refType="t" refFor="ch" refForName="parTx4"/>
                  <dgm:constr type="h" for="ch" forName="desTx4" refType="h" refFor="ch" refForName="parTx4"/>
                </dgm:constrLst>
              </dgm:if>
              <dgm:else name="Name41">
                <dgm:alg type="composite">
                  <dgm:param type="ar" val="1.267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userD" refType="w" fact="0.0167"/>
                  <dgm:constr type="ctrX" for="ch" forName="dot1" refType="w" fact="0.6022"/>
                  <dgm:constr type="ctrY" for="ch" forName="dot1" refType="h" fact="0.8215"/>
                  <dgm:constr type="w" for="ch" forName="dot1" refType="userD"/>
                  <dgm:constr type="h" for="ch" forName="dot1" refType="userD"/>
                  <dgm:constr type="ctrX" for="ch" forName="dot2" refType="w" fact="0.6394"/>
                  <dgm:constr type="ctrY" for="ch" forName="dot2" refType="h" fact="0.843"/>
                  <dgm:constr type="w" for="ch" forName="dot2" refType="userD"/>
                  <dgm:constr type="h" for="ch" forName="dot2" refType="userD"/>
                  <dgm:constr type="ctrX" for="ch" forName="dot3" refType="w" fact="0.6777"/>
                  <dgm:constr type="ctrY" for="ch" forName="dot3" refType="h" fact="0.8607"/>
                  <dgm:constr type="w" for="ch" forName="dot3" refType="userD"/>
                  <dgm:constr type="h" for="ch" forName="dot3" refType="userD"/>
                  <dgm:constr type="ctrX" for="ch" forName="dot4" refType="w" fact="0.7171"/>
                  <dgm:constr type="ctrY" for="ch" forName="dot4" refType="h" fact="0.8745"/>
                  <dgm:constr type="w" for="ch" forName="dot4" refType="userD"/>
                  <dgm:constr type="h" for="ch" forName="dot4" refType="userD"/>
                  <dgm:constr type="ctrX" for="ch" forName="dot5" refType="w" fact="0.4283"/>
                  <dgm:constr type="ctrY" for="ch" forName="dot5" refType="h" fact="0.6419"/>
                  <dgm:constr type="w" for="ch" forName="dot5" refType="userD"/>
                  <dgm:constr type="h" for="ch" forName="dot5" refType="userD"/>
                  <dgm:constr type="ctrX" for="ch" forName="dot6" refType="w" fact="0.3291"/>
                  <dgm:constr type="ctrY" for="ch" forName="dot6" refType="h" fact="0.3784"/>
                  <dgm:constr type="w" for="ch" forName="dot6" refType="userD"/>
                  <dgm:constr type="h" for="ch" forName="dot6" refType="userD"/>
                  <dgm:constr type="ctrX" for="ch" forName="dotArrow1" refType="w" fact="0.3559"/>
                  <dgm:constr type="ctrY" for="ch" forName="dotArrow1" refType="h" fact="0.0496"/>
                  <dgm:constr type="w" for="ch" forName="dotArrow1" refType="userD"/>
                  <dgm:constr type="h" for="ch" forName="dotArrow1" refType="userD"/>
                  <dgm:constr type="ctrX" for="ch" forName="dotArrow2" refType="w" fact="0.3321"/>
                  <dgm:constr type="ctrY" for="ch" forName="dotArrow2" refType="h" fact="0.0282"/>
                  <dgm:constr type="w" for="ch" forName="dotArrow2" refType="userD"/>
                  <dgm:constr type="h" for="ch" forName="dotArrow2" refType="userD"/>
                  <dgm:constr type="ctrX" for="ch" forName="dotArrow3" refType="w" fact="0.3083"/>
                  <dgm:constr type="ctrY" for="ch" forName="dotArrow3" refType="h" fact="0.0068"/>
                  <dgm:constr type="w" for="ch" forName="dotArrow3" refType="userD"/>
                  <dgm:constr type="h" for="ch" forName="dotArrow3" refType="userD"/>
                  <dgm:constr type="ctrX" for="ch" forName="dotArrow4" refType="w" fact="0.2845"/>
                  <dgm:constr type="ctrY" for="ch" forName="dotArrow4" refType="h" fact="0.0282"/>
                  <dgm:constr type="w" for="ch" forName="dotArrow4" refType="userD"/>
                  <dgm:constr type="h" for="ch" forName="dotArrow4" refType="userD"/>
                  <dgm:constr type="ctrX" for="ch" forName="dotArrow5" refType="w" fact="0.2606"/>
                  <dgm:constr type="ctrY" for="ch" forName="dotArrow5" refType="h" fact="0.0496"/>
                  <dgm:constr type="w" for="ch" forName="dotArrow5" refType="userD"/>
                  <dgm:constr type="h" for="ch" forName="dotArrow5" refType="userD"/>
                  <dgm:constr type="ctrX" for="ch" forName="dotArrow6" refType="w" fact="0.3083"/>
                  <dgm:constr type="ctrY" for="ch" forName="dotArrow6" refType="h" fact="0.052"/>
                  <dgm:constr type="w" for="ch" forName="dotArrow6" refType="userD"/>
                  <dgm:constr type="h" for="ch" forName="dotArrow6" refType="userD"/>
                  <dgm:constr type="ctrX" for="ch" forName="dotArrow7" refType="w" fact="0.3083"/>
                  <dgm:constr type="ctrY" for="ch" forName="dotArrow7" refType="h" fact="0.0972"/>
                  <dgm:constr type="w" for="ch" forName="dotArrow7" refType="userD"/>
                  <dgm:constr type="h" for="ch" forName="dotArrow7" refType="userD"/>
                  <dgm:constr type="r" for="ch" forName="parTx1" refType="w" fact="0.8207"/>
                  <dgm:constr type="t" for="ch" forName="parTx1" refType="h" fact="0.9064"/>
                  <dgm:constr type="w" for="ch" forName="parTx1" refType="w" fact="0.3595"/>
                  <dgm:constr type="h" for="ch" forName="parTx1" refType="h" fact="0.1222"/>
                  <dgm:constr type="ctrX" for="ch" forName="picture1" refType="w" fact="0.837"/>
                  <dgm:constr type="ctrY" for="ch" forName="picture1" refType="h" fact="0.8922"/>
                  <dgm:constr type="w" for="ch" forName="picture1" refType="w" fact="0.1667"/>
                  <dgm:constr type="h" for="ch" forName="picture1" refType="h" fact="0.2113"/>
                  <dgm:constr type="r" for="ch" forName="parTx2" refType="w" fact="0.498"/>
                  <dgm:constr type="t" for="ch" forName="parTx2" refType="h" fact="0.7589"/>
                  <dgm:constr type="w" for="ch" forName="parTx2" refType="w" fact="0.3595"/>
                  <dgm:constr type="h" for="ch" forName="parTx2" refType="h" fact="0.1222"/>
                  <dgm:constr type="ctrX" for="ch" forName="picture2" refType="w" fact="0.5143"/>
                  <dgm:constr type="ctrY" for="ch" forName="picture2" refType="h" fact="0.7447"/>
                  <dgm:constr type="w" for="ch" forName="picture2" refType="w" fact="0.1667"/>
                  <dgm:constr type="h" for="ch" forName="picture2" refType="h" fact="0.2113"/>
                  <dgm:constr type="r" for="ch" forName="parTx3" refType="w" fact="0.3606"/>
                  <dgm:constr type="t" for="ch" forName="parTx3" refType="h" fact="0.5263"/>
                  <dgm:constr type="w" for="ch" forName="parTx3" refType="w" fact="0.3595"/>
                  <dgm:constr type="h" for="ch" forName="parTx3" refType="h" fact="0.1222"/>
                  <dgm:constr type="ctrX" for="ch" forName="picture3" refType="w" fact="0.3769"/>
                  <dgm:constr type="ctrY" for="ch" forName="picture3" refType="h" fact="0.5121"/>
                  <dgm:constr type="w" for="ch" forName="picture3" refType="w" fact="0.1667"/>
                  <dgm:constr type="h" for="ch" forName="picture3" refType="h" fact="0.2113"/>
                  <dgm:constr type="r" for="ch" forName="parTx4" refType="w" fact="0.3003"/>
                  <dgm:constr type="t" for="ch" forName="parTx4" refType="h" fact="0.2492"/>
                  <dgm:constr type="w" for="ch" forName="parTx4" refType="w" fact="0.3595"/>
                  <dgm:constr type="h" for="ch" forName="parTx4" refType="h" fact="0.1222"/>
                  <dgm:constr type="ctrX" for="ch" forName="picture4" refType="w" fact="0.3166"/>
                  <dgm:constr type="ctrY" for="ch" forName="picture4" refType="h" fact="0.235"/>
                  <dgm:constr type="w" for="ch" forName="picture4" refType="w" fact="0.1667"/>
                  <dgm:constr type="h" for="ch" forName="picture4" refType="h" fact="0.2113"/>
                </dgm:constrLst>
              </dgm:else>
            </dgm:choose>
          </dgm:else>
        </dgm:choose>
      </dgm:if>
      <dgm:if name="Name42" axis="ch" ptType="node" func="cnt" op="equ" val="5">
        <dgm:choose name="Name43">
          <dgm:if name="Name44" func="var" arg="dir" op="equ" val="norm">
            <dgm:choose name="Name45">
              <dgm:if name="Name46"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3263"/>
                  <dgm:constr type="ctrY" for="ch" forName="dot1" refType="h" fact="0.8674"/>
                  <dgm:constr type="w" for="ch" forName="dot1" refType="userD"/>
                  <dgm:constr type="h" for="ch" forName="dot1" refType="userD"/>
                  <dgm:constr type="ctrX" for="ch" forName="dot2" refType="w" fact="0.3001"/>
                  <dgm:constr type="ctrY" for="ch" forName="dot2" refType="h" fact="0.8824"/>
                  <dgm:constr type="w" for="ch" forName="dot2" refType="userD"/>
                  <dgm:constr type="h" for="ch" forName="dot2" refType="userD"/>
                  <dgm:constr type="ctrX" for="ch" forName="dot3" refType="w" fact="0.2733"/>
                  <dgm:constr type="ctrY" for="ch" forName="dot3" refType="h" fact="0.8948"/>
                  <dgm:constr type="w" for="ch" forName="dot3" refType="userD"/>
                  <dgm:constr type="h" for="ch" forName="dot3" refType="userD"/>
                  <dgm:constr type="ctrX" for="ch" forName="dot4" refType="w" fact="0.2462"/>
                  <dgm:constr type="ctrY" for="ch" forName="dot4" refType="h" fact="0.9044"/>
                  <dgm:constr type="w" for="ch" forName="dot4" refType="userD"/>
                  <dgm:constr type="h" for="ch" forName="dot4" refType="userD"/>
                  <dgm:constr type="ctrX" for="ch" forName="dot5" refType="w" fact="0.4691"/>
                  <dgm:constr type="ctrY" for="ch" forName="dot5" refType="h" fact="0.7222"/>
                  <dgm:constr type="w" for="ch" forName="dot5" refType="userD"/>
                  <dgm:constr type="h" for="ch" forName="dot5" refType="userD"/>
                  <dgm:constr type="ctrX" for="ch" forName="dot6" refType="w" fact="0.4484"/>
                  <dgm:constr type="ctrY" for="ch" forName="dot6" refType="h" fact="0.7518"/>
                  <dgm:constr type="w" for="ch" forName="dot6" refType="userD"/>
                  <dgm:constr type="h" for="ch" forName="dot6" refType="userD"/>
                  <dgm:constr type="ctrX" for="ch" forName="dot7" refType="w" fact="0.5549"/>
                  <dgm:constr type="ctrY" for="ch" forName="dot7" refType="h" fact="0.5422"/>
                  <dgm:constr type="w" for="ch" forName="dot7" refType="userD"/>
                  <dgm:constr type="h" for="ch" forName="dot7" refType="userD"/>
                  <dgm:constr type="ctrX" for="ch" forName="dot8" refType="w" fact="0.601"/>
                  <dgm:constr type="ctrY" for="ch" forName="dot8" refType="h" fact="0.3229"/>
                  <dgm:constr type="w" for="ch" forName="dot8" refType="userD"/>
                  <dgm:constr type="h" for="ch" forName="dot8" refType="userD"/>
                  <dgm:constr type="ctrX" for="ch" forName="dotArrow1" refType="w" fact="0.5779"/>
                  <dgm:constr type="ctrY" for="ch" forName="dotArrow1" refType="h" fact="0.0635"/>
                  <dgm:constr type="w" for="ch" forName="dotArrow1" refType="userD"/>
                  <dgm:constr type="h" for="ch" forName="dotArrow1" refType="userD"/>
                  <dgm:constr type="ctrX" for="ch" forName="dotArrow2" refType="w" fact="0.5951"/>
                  <dgm:constr type="ctrY" for="ch" forName="dotArrow2" refType="h" fact="0.0448"/>
                  <dgm:constr type="w" for="ch" forName="dotArrow2" refType="userD"/>
                  <dgm:constr type="h" for="ch" forName="dotArrow2" refType="userD"/>
                  <dgm:constr type="ctrX" for="ch" forName="dotArrow3" refType="w" fact="0.6123"/>
                  <dgm:constr type="ctrY" for="ch" forName="dotArrow3" refType="h" fact="0.026"/>
                  <dgm:constr type="w" for="ch" forName="dotArrow3" refType="userD"/>
                  <dgm:constr type="h" for="ch" forName="dotArrow3" refType="userD"/>
                  <dgm:constr type="ctrX" for="ch" forName="dotArrow4" refType="w" fact="0.6295"/>
                  <dgm:constr type="ctrY" for="ch" forName="dotArrow4" refType="h" fact="0.0448"/>
                  <dgm:constr type="w" for="ch" forName="dotArrow4" refType="userD"/>
                  <dgm:constr type="h" for="ch" forName="dotArrow4" refType="userD"/>
                  <dgm:constr type="ctrX" for="ch" forName="dotArrow5" refType="w" fact="0.6467"/>
                  <dgm:constr type="ctrY" for="ch" forName="dotArrow5" refType="h" fact="0.0635"/>
                  <dgm:constr type="w" for="ch" forName="dotArrow5" refType="userD"/>
                  <dgm:constr type="h" for="ch" forName="dotArrow5" refType="userD"/>
                  <dgm:constr type="ctrX" for="ch" forName="dotArrow6" refType="w" fact="0.6123"/>
                  <dgm:constr type="ctrY" for="ch" forName="dotArrow6" refType="h" fact="0.0656"/>
                  <dgm:constr type="w" for="ch" forName="dotArrow6" refType="userD"/>
                  <dgm:constr type="h" for="ch" forName="dotArrow6" refType="userD"/>
                  <dgm:constr type="ctrX" for="ch" forName="dotArrow7" refType="w" fact="0.6123"/>
                  <dgm:constr type="ctrY" for="ch" forName="dotArrow7" refType="h" fact="0.1052"/>
                  <dgm:constr type="w" for="ch" forName="dotArrow7" refType="userD"/>
                  <dgm:constr type="h" for="ch" forName="dotArrow7" refType="userD"/>
                  <dgm:constr type="l" for="ch" forName="parTx1" refType="w" fact="0.1746"/>
                  <dgm:constr type="t" for="ch" forName="parTx1" refType="h" fact="0.9304"/>
                  <dgm:constr type="w" for="ch" forName="parTx1" refType="w" fact="0.2544"/>
                  <dgm:constr type="h" for="ch" forName="parTx1" refType="h" fact="0.0962"/>
                  <dgm:constr type="ctrX" for="ch" forName="picture1" refType="w" fact="0.1631"/>
                  <dgm:constr type="ctrY" for="ch" forName="picture1" refType="h" fact="0.9169"/>
                  <dgm:constr type="w" for="ch" forName="picture1" refType="w" fact="0.118"/>
                  <dgm:constr type="h" for="ch" forName="picture1" refType="h" fact="0.166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3982"/>
                  <dgm:constr type="t" for="ch" forName="parTx2" refType="h" fact="0.8167"/>
                  <dgm:constr type="w" for="ch" forName="parTx2" refType="w" fact="0.2544"/>
                  <dgm:constr type="h" for="ch" forName="parTx2" refType="h" fact="0.0962"/>
                  <dgm:constr type="ctrX" for="ch" forName="picture2" refType="w" fact="0.3866"/>
                  <dgm:constr type="ctrY" for="ch" forName="picture2" refType="h" fact="0.8032"/>
                  <dgm:constr type="w" for="ch" forName="picture2" refType="w" fact="0.118"/>
                  <dgm:constr type="h" for="ch" forName="picture2" refType="h" fact="0.166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194"/>
                  <dgm:constr type="t" for="ch" forName="parTx3" refType="h" fact="0.6524"/>
                  <dgm:constr type="w" for="ch" forName="parTx3" refType="w" fact="0.2544"/>
                  <dgm:constr type="h" for="ch" forName="parTx3" refType="h" fact="0.0962"/>
                  <dgm:constr type="ctrX" for="ch" forName="picture3" refType="w" fact="0.5078"/>
                  <dgm:constr type="ctrY" for="ch" forName="picture3" refType="h" fact="0.6389"/>
                  <dgm:constr type="w" for="ch" forName="picture3" refType="w" fact="0.118"/>
                  <dgm:constr type="h" for="ch" forName="picture3" refType="h" fact="0.166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827"/>
                  <dgm:constr type="t" for="ch" forName="parTx4" refType="h" fact="0.4412"/>
                  <dgm:constr type="w" for="ch" forName="parTx4" refType="w" fact="0.2544"/>
                  <dgm:constr type="h" for="ch" forName="parTx4" refType="h" fact="0.0962"/>
                  <dgm:constr type="ctrX" for="ch" forName="picture4" refType="w" fact="0.5712"/>
                  <dgm:constr type="ctrY" for="ch" forName="picture4" refType="h" fact="0.4277"/>
                  <dgm:constr type="w" for="ch" forName="picture4" refType="w" fact="0.118"/>
                  <dgm:constr type="h" for="ch" forName="picture4" refType="h" fact="0.166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18"/>
                  <dgm:constr type="t" for="ch" forName="parTx5" refType="h" fact="0.2262"/>
                  <dgm:constr type="w" for="ch" forName="parTx5" refType="w" fact="0.2544"/>
                  <dgm:constr type="h" for="ch" forName="parTx5" refType="h" fact="0.0962"/>
                  <dgm:constr type="ctrX" for="ch" forName="picture5" refType="w" fact="0.6064"/>
                  <dgm:constr type="ctrY" for="ch" forName="picture5" refType="h" fact="0.2127"/>
                  <dgm:constr type="w" for="ch" forName="picture5" refType="w" fact="0.118"/>
                  <dgm:constr type="h" for="ch" forName="picture5" refType="h" fact="0.1663"/>
                  <dgm:constr type="l" for="ch" forName="desTx5" refType="r" refFor="ch" refForName="parTx5"/>
                  <dgm:constr type="r" for="ch" forName="desTx5" refType="w"/>
                  <dgm:constr type="t" for="ch" forName="desTx5" refType="t" refFor="ch" refForName="parTx5"/>
                  <dgm:constr type="h" for="ch" forName="desTx5" refType="h" refFor="ch" refForName="parTx5"/>
                </dgm:constrLst>
              </dgm:if>
              <dgm:else name="Name47">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3951"/>
                  <dgm:constr type="ctrY" for="ch" forName="dot1" refType="h" fact="0.8674"/>
                  <dgm:constr type="w" for="ch" forName="dot1" refType="userD"/>
                  <dgm:constr type="h" for="ch" forName="dot1" refType="userD"/>
                  <dgm:constr type="ctrX" for="ch" forName="dot2" refType="w" fact="0.3634"/>
                  <dgm:constr type="ctrY" for="ch" forName="dot2" refType="h" fact="0.8824"/>
                  <dgm:constr type="w" for="ch" forName="dot2" refType="userD"/>
                  <dgm:constr type="h" for="ch" forName="dot2" refType="userD"/>
                  <dgm:constr type="ctrX" for="ch" forName="dot3" refType="w" fact="0.331"/>
                  <dgm:constr type="ctrY" for="ch" forName="dot3" refType="h" fact="0.8948"/>
                  <dgm:constr type="w" for="ch" forName="dot3" refType="userD"/>
                  <dgm:constr type="h" for="ch" forName="dot3" refType="userD"/>
                  <dgm:constr type="ctrX" for="ch" forName="dot4" refType="w" fact="0.2981"/>
                  <dgm:constr type="ctrY" for="ch" forName="dot4" refType="h" fact="0.9044"/>
                  <dgm:constr type="w" for="ch" forName="dot4" refType="userD"/>
                  <dgm:constr type="h" for="ch" forName="dot4" refType="userD"/>
                  <dgm:constr type="ctrX" for="ch" forName="dot5" refType="w" fact="0.5681"/>
                  <dgm:constr type="ctrY" for="ch" forName="dot5" refType="h" fact="0.7222"/>
                  <dgm:constr type="w" for="ch" forName="dot5" refType="userD"/>
                  <dgm:constr type="h" for="ch" forName="dot5" refType="userD"/>
                  <dgm:constr type="ctrX" for="ch" forName="dot6" refType="w" fact="0.543"/>
                  <dgm:constr type="ctrY" for="ch" forName="dot6" refType="h" fact="0.7518"/>
                  <dgm:constr type="w" for="ch" forName="dot6" refType="userD"/>
                  <dgm:constr type="h" for="ch" forName="dot6" refType="userD"/>
                  <dgm:constr type="ctrX" for="ch" forName="dot7" refType="w" fact="0.672"/>
                  <dgm:constr type="ctrY" for="ch" forName="dot7" refType="h" fact="0.5422"/>
                  <dgm:constr type="w" for="ch" forName="dot7" refType="userD"/>
                  <dgm:constr type="h" for="ch" forName="dot7" refType="userD"/>
                  <dgm:constr type="ctrX" for="ch" forName="dot8" refType="w" fact="0.7278"/>
                  <dgm:constr type="ctrY" for="ch" forName="dot8" refType="h" fact="0.3229"/>
                  <dgm:constr type="w" for="ch" forName="dot8" refType="userD"/>
                  <dgm:constr type="h" for="ch" forName="dot8" refType="userD"/>
                  <dgm:constr type="ctrX" for="ch" forName="dotArrow1" refType="w" fact="0.6999"/>
                  <dgm:constr type="ctrY" for="ch" forName="dotArrow1" refType="h" fact="0.0635"/>
                  <dgm:constr type="w" for="ch" forName="dotArrow1" refType="userD"/>
                  <dgm:constr type="h" for="ch" forName="dotArrow1" refType="userD"/>
                  <dgm:constr type="ctrX" for="ch" forName="dotArrow2" refType="w" fact="0.7207"/>
                  <dgm:constr type="ctrY" for="ch" forName="dotArrow2" refType="h" fact="0.0448"/>
                  <dgm:constr type="w" for="ch" forName="dotArrow2" refType="userD"/>
                  <dgm:constr type="h" for="ch" forName="dotArrow2" refType="userD"/>
                  <dgm:constr type="ctrX" for="ch" forName="dotArrow3" refType="w" fact="0.7415"/>
                  <dgm:constr type="ctrY" for="ch" forName="dotArrow3" refType="h" fact="0.026"/>
                  <dgm:constr type="w" for="ch" forName="dotArrow3" refType="userD"/>
                  <dgm:constr type="h" for="ch" forName="dotArrow3" refType="userD"/>
                  <dgm:constr type="ctrX" for="ch" forName="dotArrow4" refType="w" fact="0.7624"/>
                  <dgm:constr type="ctrY" for="ch" forName="dotArrow4" refType="h" fact="0.0448"/>
                  <dgm:constr type="w" for="ch" forName="dotArrow4" refType="userD"/>
                  <dgm:constr type="h" for="ch" forName="dotArrow4" refType="userD"/>
                  <dgm:constr type="ctrX" for="ch" forName="dotArrow5" refType="w" fact="0.7832"/>
                  <dgm:constr type="ctrY" for="ch" forName="dotArrow5" refType="h" fact="0.0635"/>
                  <dgm:constr type="w" for="ch" forName="dotArrow5" refType="userD"/>
                  <dgm:constr type="h" for="ch" forName="dotArrow5" refType="userD"/>
                  <dgm:constr type="ctrX" for="ch" forName="dotArrow6" refType="w" fact="0.7415"/>
                  <dgm:constr type="ctrY" for="ch" forName="dotArrow6" refType="h" fact="0.0656"/>
                  <dgm:constr type="w" for="ch" forName="dotArrow6" refType="userD"/>
                  <dgm:constr type="h" for="ch" forName="dotArrow6" refType="userD"/>
                  <dgm:constr type="ctrX" for="ch" forName="dotArrow7" refType="w" fact="0.7415"/>
                  <dgm:constr type="ctrY" for="ch" forName="dotArrow7" refType="h" fact="0.1052"/>
                  <dgm:constr type="w" for="ch" forName="dotArrow7" refType="userD"/>
                  <dgm:constr type="h" for="ch" forName="dotArrow7" refType="userD"/>
                  <dgm:constr type="l" for="ch" forName="parTx1" refType="w" fact="0.2115"/>
                  <dgm:constr type="t" for="ch" forName="parTx1" refType="h" fact="0.928"/>
                  <dgm:constr type="w" for="ch" forName="parTx1" refType="w" fact="0.3081"/>
                  <dgm:constr type="h" for="ch" forName="parTx1" refType="h" fact="0.0962"/>
                  <dgm:constr type="ctrX" for="ch" forName="picture1" refType="w" fact="0.1975"/>
                  <dgm:constr type="ctrY" for="ch" forName="picture1" refType="h" fact="0.9169"/>
                  <dgm:constr type="w" for="ch" forName="picture1" refType="w" fact="0.1429"/>
                  <dgm:constr type="h" for="ch" forName="picture1" refType="h" fact="0.1663"/>
                  <dgm:constr type="l" for="ch" forName="parTx2" refType="w" fact="0.4822"/>
                  <dgm:constr type="t" for="ch" forName="parTx2" refType="h" fact="0.8143"/>
                  <dgm:constr type="w" for="ch" forName="parTx2" refType="w" fact="0.3081"/>
                  <dgm:constr type="h" for="ch" forName="parTx2" refType="h" fact="0.0962"/>
                  <dgm:constr type="ctrX" for="ch" forName="picture2" refType="w" fact="0.4682"/>
                  <dgm:constr type="ctrY" for="ch" forName="picture2" refType="h" fact="0.8032"/>
                  <dgm:constr type="w" for="ch" forName="picture2" refType="w" fact="0.1429"/>
                  <dgm:constr type="h" for="ch" forName="picture2" refType="h" fact="0.1663"/>
                  <dgm:constr type="l" for="ch" forName="parTx3" refType="w" fact="0.629"/>
                  <dgm:constr type="t" for="ch" forName="parTx3" refType="h" fact="0.65"/>
                  <dgm:constr type="w" for="ch" forName="parTx3" refType="w" fact="0.3081"/>
                  <dgm:constr type="h" for="ch" forName="parTx3" refType="h" fact="0.0962"/>
                  <dgm:constr type="ctrX" for="ch" forName="picture3" refType="w" fact="0.615"/>
                  <dgm:constr type="ctrY" for="ch" forName="picture3" refType="h" fact="0.6389"/>
                  <dgm:constr type="w" for="ch" forName="picture3" refType="w" fact="0.1429"/>
                  <dgm:constr type="h" for="ch" forName="picture3" refType="h" fact="0.1663"/>
                  <dgm:constr type="l" for="ch" forName="parTx4" refType="w" fact="0.7057"/>
                  <dgm:constr type="t" for="ch" forName="parTx4" refType="h" fact="0.4388"/>
                  <dgm:constr type="w" for="ch" forName="parTx4" refType="w" fact="0.3081"/>
                  <dgm:constr type="h" for="ch" forName="parTx4" refType="h" fact="0.0962"/>
                  <dgm:constr type="ctrX" for="ch" forName="picture4" refType="w" fact="0.6917"/>
                  <dgm:constr type="ctrY" for="ch" forName="picture4" refType="h" fact="0.4277"/>
                  <dgm:constr type="w" for="ch" forName="picture4" refType="w" fact="0.1429"/>
                  <dgm:constr type="h" for="ch" forName="picture4" refType="h" fact="0.1663"/>
                  <dgm:constr type="l" for="ch" forName="parTx5" refType="w" fact="0.7484"/>
                  <dgm:constr type="t" for="ch" forName="parTx5" refType="h" fact="0.2238"/>
                  <dgm:constr type="w" for="ch" forName="parTx5" refType="w" fact="0.3081"/>
                  <dgm:constr type="h" for="ch" forName="parTx5" refType="h" fact="0.0962"/>
                  <dgm:constr type="ctrX" for="ch" forName="picture5" refType="w" fact="0.7344"/>
                  <dgm:constr type="ctrY" for="ch" forName="picture5" refType="h" fact="0.2127"/>
                  <dgm:constr type="w" for="ch" forName="picture5" refType="w" fact="0.1429"/>
                  <dgm:constr type="h" for="ch" forName="picture5" refType="h" fact="0.1663"/>
                </dgm:constrLst>
              </dgm:else>
            </dgm:choose>
          </dgm:if>
          <dgm:else name="Name48">
            <dgm:choose name="Name49">
              <dgm:if name="Name50" axis="des" func="maxDepth" op="gt" val="1">
                <dgm:alg type="composite">
                  <dgm:param type="ar" val="1.41"/>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userD" refType="w" fact="0.0118"/>
                  <dgm:constr type="ctrX" for="ch" forName="dot1" refType="w" fact="0.6737"/>
                  <dgm:constr type="ctrY" for="ch" forName="dot1" refType="h" fact="0.8674"/>
                  <dgm:constr type="w" for="ch" forName="dot1" refType="userD"/>
                  <dgm:constr type="h" for="ch" forName="dot1" refType="userD"/>
                  <dgm:constr type="ctrX" for="ch" forName="dot2" refType="w" fact="0.6999"/>
                  <dgm:constr type="ctrY" for="ch" forName="dot2" refType="h" fact="0.8824"/>
                  <dgm:constr type="w" for="ch" forName="dot2" refType="userD"/>
                  <dgm:constr type="h" for="ch" forName="dot2" refType="userD"/>
                  <dgm:constr type="ctrX" for="ch" forName="dot3" refType="w" fact="0.7267"/>
                  <dgm:constr type="ctrY" for="ch" forName="dot3" refType="h" fact="0.8948"/>
                  <dgm:constr type="w" for="ch" forName="dot3" refType="userD"/>
                  <dgm:constr type="h" for="ch" forName="dot3" refType="userD"/>
                  <dgm:constr type="ctrX" for="ch" forName="dot4" refType="w" fact="0.7538"/>
                  <dgm:constr type="ctrY" for="ch" forName="dot4" refType="h" fact="0.9044"/>
                  <dgm:constr type="w" for="ch" forName="dot4" refType="userD"/>
                  <dgm:constr type="h" for="ch" forName="dot4" refType="userD"/>
                  <dgm:constr type="ctrX" for="ch" forName="dot5" refType="w" fact="0.5309"/>
                  <dgm:constr type="ctrY" for="ch" forName="dot5" refType="h" fact="0.7222"/>
                  <dgm:constr type="w" for="ch" forName="dot5" refType="userD"/>
                  <dgm:constr type="h" for="ch" forName="dot5" refType="userD"/>
                  <dgm:constr type="ctrX" for="ch" forName="dot6" refType="w" fact="0.5516"/>
                  <dgm:constr type="ctrY" for="ch" forName="dot6" refType="h" fact="0.7518"/>
                  <dgm:constr type="w" for="ch" forName="dot6" refType="userD"/>
                  <dgm:constr type="h" for="ch" forName="dot6" refType="userD"/>
                  <dgm:constr type="ctrX" for="ch" forName="dot7" refType="w" fact="0.4451"/>
                  <dgm:constr type="ctrY" for="ch" forName="dot7" refType="h" fact="0.5422"/>
                  <dgm:constr type="w" for="ch" forName="dot7" refType="userD"/>
                  <dgm:constr type="h" for="ch" forName="dot7" refType="userD"/>
                  <dgm:constr type="ctrX" for="ch" forName="dot8" refType="w" fact="0.399"/>
                  <dgm:constr type="ctrY" for="ch" forName="dot8" refType="h" fact="0.3229"/>
                  <dgm:constr type="w" for="ch" forName="dot8" refType="userD"/>
                  <dgm:constr type="h" for="ch" forName="dot8" refType="userD"/>
                  <dgm:constr type="ctrX" for="ch" forName="dotArrow1" refType="w" fact="0.4221"/>
                  <dgm:constr type="ctrY" for="ch" forName="dotArrow1" refType="h" fact="0.0635"/>
                  <dgm:constr type="w" for="ch" forName="dotArrow1" refType="userD"/>
                  <dgm:constr type="h" for="ch" forName="dotArrow1" refType="userD"/>
                  <dgm:constr type="ctrX" for="ch" forName="dotArrow2" refType="w" fact="0.4049"/>
                  <dgm:constr type="ctrY" for="ch" forName="dotArrow2" refType="h" fact="0.0448"/>
                  <dgm:constr type="w" for="ch" forName="dotArrow2" refType="userD"/>
                  <dgm:constr type="h" for="ch" forName="dotArrow2" refType="userD"/>
                  <dgm:constr type="ctrX" for="ch" forName="dotArrow3" refType="w" fact="0.3877"/>
                  <dgm:constr type="ctrY" for="ch" forName="dotArrow3" refType="h" fact="0.026"/>
                  <dgm:constr type="w" for="ch" forName="dotArrow3" refType="userD"/>
                  <dgm:constr type="h" for="ch" forName="dotArrow3" refType="userD"/>
                  <dgm:constr type="ctrX" for="ch" forName="dotArrow4" refType="w" fact="0.3705"/>
                  <dgm:constr type="ctrY" for="ch" forName="dotArrow4" refType="h" fact="0.0448"/>
                  <dgm:constr type="w" for="ch" forName="dotArrow4" refType="userD"/>
                  <dgm:constr type="h" for="ch" forName="dotArrow4" refType="userD"/>
                  <dgm:constr type="ctrX" for="ch" forName="dotArrow5" refType="w" fact="0.3533"/>
                  <dgm:constr type="ctrY" for="ch" forName="dotArrow5" refType="h" fact="0.0635"/>
                  <dgm:constr type="w" for="ch" forName="dotArrow5" refType="userD"/>
                  <dgm:constr type="h" for="ch" forName="dotArrow5" refType="userD"/>
                  <dgm:constr type="ctrX" for="ch" forName="dotArrow6" refType="w" fact="0.3877"/>
                  <dgm:constr type="ctrY" for="ch" forName="dotArrow6" refType="h" fact="0.0656"/>
                  <dgm:constr type="w" for="ch" forName="dotArrow6" refType="userD"/>
                  <dgm:constr type="h" for="ch" forName="dotArrow6" refType="userD"/>
                  <dgm:constr type="ctrX" for="ch" forName="dotArrow7" refType="w" fact="0.3877"/>
                  <dgm:constr type="ctrY" for="ch" forName="dotArrow7" refType="h" fact="0.1052"/>
                  <dgm:constr type="w" for="ch" forName="dotArrow7" refType="userD"/>
                  <dgm:constr type="h" for="ch" forName="dotArrow7" refType="userD"/>
                  <dgm:constr type="r" for="ch" forName="parTx1" refType="w" fact="0.8254"/>
                  <dgm:constr type="t" for="ch" forName="parTx1" refType="h" fact="0.9304"/>
                  <dgm:constr type="w" for="ch" forName="parTx1" refType="w" fact="0.2544"/>
                  <dgm:constr type="h" for="ch" forName="parTx1" refType="h" fact="0.0962"/>
                  <dgm:constr type="ctrX" for="ch" forName="picture1" refType="w" fact="0.8369"/>
                  <dgm:constr type="ctrY" for="ch" forName="picture1" refType="h" fact="0.9169"/>
                  <dgm:constr type="w" for="ch" forName="picture1" refType="w" fact="0.118"/>
                  <dgm:constr type="h" for="ch" forName="picture1" refType="h" fact="0.166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6018"/>
                  <dgm:constr type="t" for="ch" forName="parTx2" refType="h" fact="0.8167"/>
                  <dgm:constr type="w" for="ch" forName="parTx2" refType="w" fact="0.2544"/>
                  <dgm:constr type="h" for="ch" forName="parTx2" refType="h" fact="0.0962"/>
                  <dgm:constr type="ctrX" for="ch" forName="picture2" refType="w" fact="0.6134"/>
                  <dgm:constr type="ctrY" for="ch" forName="picture2" refType="h" fact="0.8032"/>
                  <dgm:constr type="w" for="ch" forName="picture2" refType="w" fact="0.118"/>
                  <dgm:constr type="h" for="ch" forName="picture2" refType="h" fact="0.166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806"/>
                  <dgm:constr type="t" for="ch" forName="parTx3" refType="h" fact="0.6524"/>
                  <dgm:constr type="w" for="ch" forName="parTx3" refType="w" fact="0.2544"/>
                  <dgm:constr type="h" for="ch" forName="parTx3" refType="h" fact="0.0962"/>
                  <dgm:constr type="ctrX" for="ch" forName="picture3" refType="w" fact="0.4922"/>
                  <dgm:constr type="ctrY" for="ch" forName="picture3" refType="h" fact="0.6389"/>
                  <dgm:constr type="w" for="ch" forName="picture3" refType="w" fact="0.118"/>
                  <dgm:constr type="h" for="ch" forName="picture3" refType="h" fact="0.166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173"/>
                  <dgm:constr type="t" for="ch" forName="parTx4" refType="h" fact="0.4412"/>
                  <dgm:constr type="w" for="ch" forName="parTx4" refType="w" fact="0.2544"/>
                  <dgm:constr type="h" for="ch" forName="parTx4" refType="h" fact="0.0962"/>
                  <dgm:constr type="ctrX" for="ch" forName="picture4" refType="w" fact="0.4288"/>
                  <dgm:constr type="ctrY" for="ch" forName="picture4" refType="h" fact="0.4277"/>
                  <dgm:constr type="w" for="ch" forName="picture4" refType="w" fact="0.118"/>
                  <dgm:constr type="h" for="ch" forName="picture4" refType="h" fact="0.166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82"/>
                  <dgm:constr type="t" for="ch" forName="parTx5" refType="h" fact="0.2262"/>
                  <dgm:constr type="w" for="ch" forName="parTx5" refType="w" fact="0.2544"/>
                  <dgm:constr type="h" for="ch" forName="parTx5" refType="h" fact="0.0962"/>
                  <dgm:constr type="ctrX" for="ch" forName="picture5" refType="w" fact="0.3936"/>
                  <dgm:constr type="ctrY" for="ch" forName="picture5" refType="h" fact="0.2127"/>
                  <dgm:constr type="w" for="ch" forName="picture5" refType="w" fact="0.118"/>
                  <dgm:constr type="h" for="ch" forName="picture5" refType="h" fact="0.1663"/>
                  <dgm:constr type="r" for="ch" forName="desTx5" refType="l" refFor="ch" refForName="parTx5"/>
                  <dgm:constr type="l" for="ch" forName="desTx5"/>
                  <dgm:constr type="t" for="ch" forName="desTx5" refType="t" refFor="ch" refForName="parTx5"/>
                  <dgm:constr type="h" for="ch" forName="desTx5" refType="h" refFor="ch" refForName="parTx5"/>
                </dgm:constrLst>
              </dgm:if>
              <dgm:else name="Name51">
                <dgm:alg type="composite">
                  <dgm:param type="ar" val="1.164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userD" refType="w" fact="0.0143"/>
                  <dgm:constr type="ctrX" for="ch" forName="dot1" refType="w" fact="0.6049"/>
                  <dgm:constr type="ctrY" for="ch" forName="dot1" refType="h" fact="0.8674"/>
                  <dgm:constr type="w" for="ch" forName="dot1" refType="userD"/>
                  <dgm:constr type="h" for="ch" forName="dot1" refType="userD"/>
                  <dgm:constr type="ctrX" for="ch" forName="dot2" refType="w" fact="0.6366"/>
                  <dgm:constr type="ctrY" for="ch" forName="dot2" refType="h" fact="0.8824"/>
                  <dgm:constr type="w" for="ch" forName="dot2" refType="userD"/>
                  <dgm:constr type="h" for="ch" forName="dot2" refType="userD"/>
                  <dgm:constr type="ctrX" for="ch" forName="dot3" refType="w" fact="0.669"/>
                  <dgm:constr type="ctrY" for="ch" forName="dot3" refType="h" fact="0.8948"/>
                  <dgm:constr type="w" for="ch" forName="dot3" refType="userD"/>
                  <dgm:constr type="h" for="ch" forName="dot3" refType="userD"/>
                  <dgm:constr type="ctrX" for="ch" forName="dot4" refType="w" fact="0.7019"/>
                  <dgm:constr type="ctrY" for="ch" forName="dot4" refType="h" fact="0.9044"/>
                  <dgm:constr type="w" for="ch" forName="dot4" refType="userD"/>
                  <dgm:constr type="h" for="ch" forName="dot4" refType="userD"/>
                  <dgm:constr type="ctrX" for="ch" forName="dot5" refType="w" fact="0.4319"/>
                  <dgm:constr type="ctrY" for="ch" forName="dot5" refType="h" fact="0.7222"/>
                  <dgm:constr type="w" for="ch" forName="dot5" refType="userD"/>
                  <dgm:constr type="h" for="ch" forName="dot5" refType="userD"/>
                  <dgm:constr type="ctrX" for="ch" forName="dot6" refType="w" fact="0.457"/>
                  <dgm:constr type="ctrY" for="ch" forName="dot6" refType="h" fact="0.7518"/>
                  <dgm:constr type="w" for="ch" forName="dot6" refType="userD"/>
                  <dgm:constr type="h" for="ch" forName="dot6" refType="userD"/>
                  <dgm:constr type="ctrX" for="ch" forName="dot7" refType="w" fact="0.328"/>
                  <dgm:constr type="ctrY" for="ch" forName="dot7" refType="h" fact="0.5422"/>
                  <dgm:constr type="w" for="ch" forName="dot7" refType="userD"/>
                  <dgm:constr type="h" for="ch" forName="dot7" refType="userD"/>
                  <dgm:constr type="ctrX" for="ch" forName="dot8" refType="w" fact="0.2722"/>
                  <dgm:constr type="ctrY" for="ch" forName="dot8" refType="h" fact="0.3229"/>
                  <dgm:constr type="w" for="ch" forName="dot8" refType="userD"/>
                  <dgm:constr type="h" for="ch" forName="dot8" refType="userD"/>
                  <dgm:constr type="ctrX" for="ch" forName="dotArrow1" refType="w" fact="0.3001"/>
                  <dgm:constr type="ctrY" for="ch" forName="dotArrow1" refType="h" fact="0.0635"/>
                  <dgm:constr type="w" for="ch" forName="dotArrow1" refType="userD"/>
                  <dgm:constr type="h" for="ch" forName="dotArrow1" refType="userD"/>
                  <dgm:constr type="ctrX" for="ch" forName="dotArrow2" refType="w" fact="0.2793"/>
                  <dgm:constr type="ctrY" for="ch" forName="dotArrow2" refType="h" fact="0.0448"/>
                  <dgm:constr type="w" for="ch" forName="dotArrow2" refType="userD"/>
                  <dgm:constr type="h" for="ch" forName="dotArrow2" refType="userD"/>
                  <dgm:constr type="ctrX" for="ch" forName="dotArrow3" refType="w" fact="0.2585"/>
                  <dgm:constr type="ctrY" for="ch" forName="dotArrow3" refType="h" fact="0.026"/>
                  <dgm:constr type="w" for="ch" forName="dotArrow3" refType="userD"/>
                  <dgm:constr type="h" for="ch" forName="dotArrow3" refType="userD"/>
                  <dgm:constr type="ctrX" for="ch" forName="dotArrow4" refType="w" fact="0.2376"/>
                  <dgm:constr type="ctrY" for="ch" forName="dotArrow4" refType="h" fact="0.0448"/>
                  <dgm:constr type="w" for="ch" forName="dotArrow4" refType="userD"/>
                  <dgm:constr type="h" for="ch" forName="dotArrow4" refType="userD"/>
                  <dgm:constr type="ctrX" for="ch" forName="dotArrow5" refType="w" fact="0.2168"/>
                  <dgm:constr type="ctrY" for="ch" forName="dotArrow5" refType="h" fact="0.0635"/>
                  <dgm:constr type="w" for="ch" forName="dotArrow5" refType="userD"/>
                  <dgm:constr type="h" for="ch" forName="dotArrow5" refType="userD"/>
                  <dgm:constr type="ctrX" for="ch" forName="dotArrow6" refType="w" fact="0.2585"/>
                  <dgm:constr type="ctrY" for="ch" forName="dotArrow6" refType="h" fact="0.0656"/>
                  <dgm:constr type="w" for="ch" forName="dotArrow6" refType="userD"/>
                  <dgm:constr type="h" for="ch" forName="dotArrow6" refType="userD"/>
                  <dgm:constr type="ctrX" for="ch" forName="dotArrow7" refType="w" fact="0.2585"/>
                  <dgm:constr type="ctrY" for="ch" forName="dotArrow7" refType="h" fact="0.1052"/>
                  <dgm:constr type="w" for="ch" forName="dotArrow7" refType="userD"/>
                  <dgm:constr type="h" for="ch" forName="dotArrow7" refType="userD"/>
                  <dgm:constr type="r" for="ch" forName="parTx1" refType="w" fact="0.7885"/>
                  <dgm:constr type="t" for="ch" forName="parTx1" refType="h" fact="0.928"/>
                  <dgm:constr type="w" for="ch" forName="parTx1" refType="w" fact="0.3081"/>
                  <dgm:constr type="h" for="ch" forName="parTx1" refType="h" fact="0.0962"/>
                  <dgm:constr type="ctrX" for="ch" forName="picture1" refType="w" fact="0.8025"/>
                  <dgm:constr type="ctrY" for="ch" forName="picture1" refType="h" fact="0.9169"/>
                  <dgm:constr type="w" for="ch" forName="picture1" refType="w" fact="0.1429"/>
                  <dgm:constr type="h" for="ch" forName="picture1" refType="h" fact="0.1663"/>
                  <dgm:constr type="r" for="ch" forName="parTx2" refType="w" fact="0.5178"/>
                  <dgm:constr type="t" for="ch" forName="parTx2" refType="h" fact="0.8143"/>
                  <dgm:constr type="w" for="ch" forName="parTx2" refType="w" fact="0.3081"/>
                  <dgm:constr type="h" for="ch" forName="parTx2" refType="h" fact="0.0962"/>
                  <dgm:constr type="ctrX" for="ch" forName="picture2" refType="w" fact="0.5318"/>
                  <dgm:constr type="ctrY" for="ch" forName="picture2" refType="h" fact="0.8032"/>
                  <dgm:constr type="w" for="ch" forName="picture2" refType="w" fact="0.1429"/>
                  <dgm:constr type="h" for="ch" forName="picture2" refType="h" fact="0.1663"/>
                  <dgm:constr type="r" for="ch" forName="parTx3" refType="w" fact="0.371"/>
                  <dgm:constr type="t" for="ch" forName="parTx3" refType="h" fact="0.65"/>
                  <dgm:constr type="w" for="ch" forName="parTx3" refType="w" fact="0.3081"/>
                  <dgm:constr type="h" for="ch" forName="parTx3" refType="h" fact="0.0962"/>
                  <dgm:constr type="ctrX" for="ch" forName="picture3" refType="w" fact="0.385"/>
                  <dgm:constr type="ctrY" for="ch" forName="picture3" refType="h" fact="0.6389"/>
                  <dgm:constr type="w" for="ch" forName="picture3" refType="w" fact="0.1429"/>
                  <dgm:constr type="h" for="ch" forName="picture3" refType="h" fact="0.1663"/>
                  <dgm:constr type="r" for="ch" forName="parTx4" refType="w" fact="0.2943"/>
                  <dgm:constr type="t" for="ch" forName="parTx4" refType="h" fact="0.4388"/>
                  <dgm:constr type="w" for="ch" forName="parTx4" refType="w" fact="0.3081"/>
                  <dgm:constr type="h" for="ch" forName="parTx4" refType="h" fact="0.0962"/>
                  <dgm:constr type="ctrX" for="ch" forName="picture4" refType="w" fact="0.3083"/>
                  <dgm:constr type="ctrY" for="ch" forName="picture4" refType="h" fact="0.4277"/>
                  <dgm:constr type="w" for="ch" forName="picture4" refType="w" fact="0.1429"/>
                  <dgm:constr type="h" for="ch" forName="picture4" refType="h" fact="0.1663"/>
                  <dgm:constr type="r" for="ch" forName="parTx5" refType="w" fact="0.2516"/>
                  <dgm:constr type="t" for="ch" forName="parTx5" refType="h" fact="0.2238"/>
                  <dgm:constr type="w" for="ch" forName="parTx5" refType="w" fact="0.3081"/>
                  <dgm:constr type="h" for="ch" forName="parTx5" refType="h" fact="0.0962"/>
                  <dgm:constr type="ctrX" for="ch" forName="picture5" refType="w" fact="0.2656"/>
                  <dgm:constr type="ctrY" for="ch" forName="picture5" refType="h" fact="0.2127"/>
                  <dgm:constr type="w" for="ch" forName="picture5" refType="w" fact="0.1429"/>
                  <dgm:constr type="h" for="ch" forName="picture5" refType="h" fact="0.1663"/>
                </dgm:constrLst>
              </dgm:else>
            </dgm:choose>
          </dgm:else>
        </dgm:choose>
      </dgm:if>
      <dgm:if name="Name52" axis="ch" ptType="node" func="cnt" op="equ" val="6">
        <dgm:choose name="Name53">
          <dgm:if name="Name54" func="var" arg="dir" op="equ" val="norm">
            <dgm:choose name="Name55">
              <dgm:if name="Name56"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3608"/>
                  <dgm:constr type="ctrY" for="ch" forName="dot1" refType="h" fact="0.8839"/>
                  <dgm:constr type="w" for="ch" forName="dot1" refType="userD"/>
                  <dgm:constr type="h" for="ch" forName="dot1" refType="userD"/>
                  <dgm:constr type="ctrX" for="ch" forName="dot2" refType="w" fact="0.3384"/>
                  <dgm:constr type="ctrY" for="ch" forName="dot2" refType="h" fact="0.8967"/>
                  <dgm:constr type="w" for="ch" forName="dot2" refType="userD"/>
                  <dgm:constr type="h" for="ch" forName="dot2" refType="userD"/>
                  <dgm:constr type="ctrX" for="ch" forName="dot3" refType="w" fact="0.3155"/>
                  <dgm:constr type="ctrY" for="ch" forName="dot3" refType="h" fact="0.9076"/>
                  <dgm:constr type="w" for="ch" forName="dot3" refType="userD"/>
                  <dgm:constr type="h" for="ch" forName="dot3" refType="userD"/>
                  <dgm:constr type="ctrX" for="ch" forName="dot4" refType="w" fact="0.2923"/>
                  <dgm:constr type="ctrY" for="ch" forName="dot4" refType="h" fact="0.9165"/>
                  <dgm:constr type="w" for="ch" forName="dot4" refType="userD"/>
                  <dgm:constr type="h" for="ch" forName="dot4" refType="userD"/>
                  <dgm:constr type="ctrX" for="ch" forName="dot5" refType="w" fact="0.2688"/>
                  <dgm:constr type="ctrY" for="ch" forName="dot5" refType="h" fact="0.9234"/>
                  <dgm:constr type="w" for="ch" forName="dot5" refType="userD"/>
                  <dgm:constr type="h" for="ch" forName="dot5" refType="userD"/>
                  <dgm:constr type="ctrX" for="ch" forName="dot6" refType="w" fact="0.4883"/>
                  <dgm:constr type="ctrY" for="ch" forName="dot6" refType="h" fact="0.764"/>
                  <dgm:constr type="w" for="ch" forName="dot6" refType="userD"/>
                  <dgm:constr type="h" for="ch" forName="dot6" refType="userD"/>
                  <dgm:constr type="ctrX" for="ch" forName="dot7" refType="w" fact="0.4695"/>
                  <dgm:constr type="ctrY" for="ch" forName="dot7" refType="h" fact="0.7878"/>
                  <dgm:constr type="w" for="ch" forName="dot7" refType="userD"/>
                  <dgm:constr type="h" for="ch" forName="dot7" refType="userD"/>
                  <dgm:constr type="ctrX" for="ch" forName="dot8" refType="w" fact="0.5696"/>
                  <dgm:constr type="ctrY" for="ch" forName="dot8" refType="h" fact="0.6227"/>
                  <dgm:constr type="w" for="ch" forName="dot8" refType="userD"/>
                  <dgm:constr type="h" for="ch" forName="dot8" refType="userD"/>
                  <dgm:constr type="ctrX" for="ch" forName="dot9" refType="w" fact="0.6247"/>
                  <dgm:constr type="ctrY" for="ch" forName="dot9" refType="h" fact="0.4556"/>
                  <dgm:constr type="w" for="ch" forName="dot9" refType="userD"/>
                  <dgm:constr type="h" for="ch" forName="dot9" refType="userD"/>
                  <dgm:constr type="ctrX" for="ch" forName="dot10" refType="w" fact="0.6509"/>
                  <dgm:constr type="ctrY" for="ch" forName="dot10" refType="h" fact="0.2816"/>
                  <dgm:constr type="w" for="ch" forName="dot10" refType="userD"/>
                  <dgm:constr type="h" for="ch" forName="dot10" refType="userD"/>
                  <dgm:constr type="ctrX" for="ch" forName="dotArrow1" refType="w" fact="0.6281"/>
                  <dgm:constr type="ctrY" for="ch" forName="dotArrow1" refType="h" fact="0.0748"/>
                  <dgm:constr type="w" for="ch" forName="dotArrow1" refType="userD"/>
                  <dgm:constr type="h" for="ch" forName="dotArrow1" refType="userD"/>
                  <dgm:constr type="ctrX" for="ch" forName="dotArrow2" refType="w" fact="0.6437"/>
                  <dgm:constr type="ctrY" for="ch" forName="dotArrow2" refType="h" fact="0.0581"/>
                  <dgm:constr type="w" for="ch" forName="dotArrow2" refType="userD"/>
                  <dgm:constr type="h" for="ch" forName="dotArrow2" refType="userD"/>
                  <dgm:constr type="ctrX" for="ch" forName="dotArrow3" refType="w" fact="0.6593"/>
                  <dgm:constr type="ctrY" for="ch" forName="dotArrow3" refType="h" fact="0.0414"/>
                  <dgm:constr type="w" for="ch" forName="dotArrow3" refType="userD"/>
                  <dgm:constr type="h" for="ch" forName="dotArrow3" refType="userD"/>
                  <dgm:constr type="ctrX" for="ch" forName="dotArrow4" refType="w" fact="0.675"/>
                  <dgm:constr type="ctrY" for="ch" forName="dotArrow4" refType="h" fact="0.0581"/>
                  <dgm:constr type="w" for="ch" forName="dotArrow4" refType="userD"/>
                  <dgm:constr type="h" for="ch" forName="dotArrow4" refType="userD"/>
                  <dgm:constr type="ctrX" for="ch" forName="dotArrow5" refType="w" fact="0.6906"/>
                  <dgm:constr type="ctrY" for="ch" forName="dotArrow5" refType="h" fact="0.0748"/>
                  <dgm:constr type="w" for="ch" forName="dotArrow5" refType="userD"/>
                  <dgm:constr type="h" for="ch" forName="dotArrow5" refType="userD"/>
                  <dgm:constr type="ctrX" for="ch" forName="dotArrow6" refType="w" fact="0.6593"/>
                  <dgm:constr type="ctrY" for="ch" forName="dotArrow6" refType="h" fact="0.0766"/>
                  <dgm:constr type="w" for="ch" forName="dotArrow6" refType="userD"/>
                  <dgm:constr type="h" for="ch" forName="dotArrow6" refType="userD"/>
                  <dgm:constr type="ctrX" for="ch" forName="dotArrow7" refType="w" fact="0.6593"/>
                  <dgm:constr type="ctrY" for="ch" forName="dotArrow7" refType="h" fact="0.1118"/>
                  <dgm:constr type="w" for="ch" forName="dotArrow7" refType="userD"/>
                  <dgm:constr type="h" for="ch" forName="dotArrow7" refType="userD"/>
                  <dgm:constr type="l" for="ch" forName="parTx1" refType="w" fact="0.2091"/>
                  <dgm:constr type="t" for="ch" forName="parTx1" refType="h" fact="0.9433"/>
                  <dgm:constr type="w" for="ch" forName="parTx1" refType="w" fact="0.2275"/>
                  <dgm:constr type="h" for="ch" forName="parTx1" refType="h" fact="0.0811"/>
                  <dgm:constr type="ctrX" for="ch" forName="picture1" refType="w" fact="0.1988"/>
                  <dgm:constr type="ctrY" for="ch" forName="picture1" refType="h" fact="0.9322"/>
                  <dgm:constr type="w" for="ch" forName="picture1" refType="w" fact="0.1055"/>
                  <dgm:constr type="h" for="ch" forName="picture1" refType="h" fact="0.1403"/>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273"/>
                  <dgm:constr type="t" for="ch" forName="parTx2" refType="h" fact="0.8468"/>
                  <dgm:constr type="w" for="ch" forName="parTx2" refType="w" fact="0.2275"/>
                  <dgm:constr type="h" for="ch" forName="parTx2" refType="h" fact="0.0811"/>
                  <dgm:constr type="ctrX" for="ch" forName="picture2" refType="w" fact="0.4169"/>
                  <dgm:constr type="ctrY" for="ch" forName="picture2" refType="h" fact="0.8357"/>
                  <dgm:constr type="w" for="ch" forName="picture2" refType="w" fact="0.1055"/>
                  <dgm:constr type="h" for="ch" forName="picture2" refType="h" fact="0.1403"/>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349"/>
                  <dgm:constr type="t" for="ch" forName="parTx3" refType="h" fact="0.7023"/>
                  <dgm:constr type="w" for="ch" forName="parTx3" refType="w" fact="0.2275"/>
                  <dgm:constr type="h" for="ch" forName="parTx3" refType="h" fact="0.0811"/>
                  <dgm:constr type="ctrX" for="ch" forName="picture3" refType="w" fact="0.5245"/>
                  <dgm:constr type="ctrY" for="ch" forName="picture3" refType="h" fact="0.6912"/>
                  <dgm:constr type="w" for="ch" forName="picture3" refType="w" fact="0.1055"/>
                  <dgm:constr type="h" for="ch" forName="picture3" refType="h" fact="0.1403"/>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5998"/>
                  <dgm:constr type="t" for="ch" forName="parTx4" refType="h" fact="0.5441"/>
                  <dgm:constr type="w" for="ch" forName="parTx4" refType="w" fact="0.2275"/>
                  <dgm:constr type="h" for="ch" forName="parTx4" refType="h" fact="0.0811"/>
                  <dgm:constr type="ctrX" for="ch" forName="picture4" refType="w" fact="0.5894"/>
                  <dgm:constr type="ctrY" for="ch" forName="picture4" refType="h" fact="0.533"/>
                  <dgm:constr type="w" for="ch" forName="picture4" refType="w" fact="0.1055"/>
                  <dgm:constr type="h" for="ch" forName="picture4" refType="h" fact="0.1403"/>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416"/>
                  <dgm:constr type="t" for="ch" forName="parTx5" refType="h" fact="0.3737"/>
                  <dgm:constr type="w" for="ch" forName="parTx5" refType="w" fact="0.2275"/>
                  <dgm:constr type="h" for="ch" forName="parTx5" refType="h" fact="0.0811"/>
                  <dgm:constr type="ctrX" for="ch" forName="picture5" refType="w" fact="0.6313"/>
                  <dgm:constr type="ctrY" for="ch" forName="picture5" refType="h" fact="0.3626"/>
                  <dgm:constr type="w" for="ch" forName="picture5" refType="w" fact="0.1055"/>
                  <dgm:constr type="h" for="ch" forName="picture5" refType="h" fact="0.1403"/>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644"/>
                  <dgm:constr type="t" for="ch" forName="parTx6" refType="h" fact="0.2061"/>
                  <dgm:constr type="w" for="ch" forName="parTx6" refType="w" fact="0.2275"/>
                  <dgm:constr type="h" for="ch" forName="parTx6" refType="h" fact="0.0811"/>
                  <dgm:constr type="ctrX" for="ch" forName="picture6" refType="w" fact="0.6541"/>
                  <dgm:constr type="ctrY" for="ch" forName="picture6" refType="h" fact="0.195"/>
                  <dgm:constr type="w" for="ch" forName="picture6" refType="w" fact="0.1055"/>
                  <dgm:constr type="h" for="ch" forName="picture6" refType="h" fact="0.1403"/>
                  <dgm:constr type="l" for="ch" forName="desTx6" refType="r" refFor="ch" refForName="parTx6"/>
                  <dgm:constr type="r" for="ch" forName="desTx6" refType="w"/>
                  <dgm:constr type="t" for="ch" forName="desTx6" refType="t" refFor="ch" refForName="parTx6"/>
                  <dgm:constr type="h" for="ch" forName="desTx6" refType="h" refFor="ch" refForName="parTx6"/>
                </dgm:constrLst>
              </dgm:if>
              <dgm:else name="Name57">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4276"/>
                  <dgm:constr type="ctrY" for="ch" forName="dot1" refType="h" fact="0.8839"/>
                  <dgm:constr type="w" for="ch" forName="dot1" refType="userD"/>
                  <dgm:constr type="h" for="ch" forName="dot1" refType="userD"/>
                  <dgm:constr type="ctrX" for="ch" forName="dot2" refType="w" fact="0.401"/>
                  <dgm:constr type="ctrY" for="ch" forName="dot2" refType="h" fact="0.8967"/>
                  <dgm:constr type="w" for="ch" forName="dot2" refType="userD"/>
                  <dgm:constr type="h" for="ch" forName="dot2" refType="userD"/>
                  <dgm:constr type="ctrX" for="ch" forName="dot3" refType="w" fact="0.3739"/>
                  <dgm:constr type="ctrY" for="ch" forName="dot3" refType="h" fact="0.9076"/>
                  <dgm:constr type="w" for="ch" forName="dot3" refType="userD"/>
                  <dgm:constr type="h" for="ch" forName="dot3" refType="userD"/>
                  <dgm:constr type="ctrX" for="ch" forName="dot4" refType="w" fact="0.3464"/>
                  <dgm:constr type="ctrY" for="ch" forName="dot4" refType="h" fact="0.9165"/>
                  <dgm:constr type="w" for="ch" forName="dot4" refType="userD"/>
                  <dgm:constr type="h" for="ch" forName="dot4" refType="userD"/>
                  <dgm:constr type="ctrX" for="ch" forName="dot5" refType="w" fact="0.3186"/>
                  <dgm:constr type="ctrY" for="ch" forName="dot5" refType="h" fact="0.9234"/>
                  <dgm:constr type="w" for="ch" forName="dot5" refType="userD"/>
                  <dgm:constr type="h" for="ch" forName="dot5" refType="userD"/>
                  <dgm:constr type="ctrX" for="ch" forName="dot6" refType="w" fact="0.5786"/>
                  <dgm:constr type="ctrY" for="ch" forName="dot6" refType="h" fact="0.764"/>
                  <dgm:constr type="w" for="ch" forName="dot6" refType="userD"/>
                  <dgm:constr type="h" for="ch" forName="dot6" refType="userD"/>
                  <dgm:constr type="ctrX" for="ch" forName="dot7" refType="w" fact="0.5564"/>
                  <dgm:constr type="ctrY" for="ch" forName="dot7" refType="h" fact="0.7878"/>
                  <dgm:constr type="w" for="ch" forName="dot7" refType="userD"/>
                  <dgm:constr type="h" for="ch" forName="dot7" refType="userD"/>
                  <dgm:constr type="ctrX" for="ch" forName="dot8" refType="w" fact="0.675"/>
                  <dgm:constr type="ctrY" for="ch" forName="dot8" refType="h" fact="0.6227"/>
                  <dgm:constr type="w" for="ch" forName="dot8" refType="userD"/>
                  <dgm:constr type="h" for="ch" forName="dot8" refType="userD"/>
                  <dgm:constr type="ctrX" for="ch" forName="dot9" refType="w" fact="0.7403"/>
                  <dgm:constr type="ctrY" for="ch" forName="dot9" refType="h" fact="0.4556"/>
                  <dgm:constr type="w" for="ch" forName="dot9" refType="userD"/>
                  <dgm:constr type="h" for="ch" forName="dot9" refType="userD"/>
                  <dgm:constr type="ctrX" for="ch" forName="dot10" refType="w" fact="0.7714"/>
                  <dgm:constr type="ctrY" for="ch" forName="dot10" refType="h" fact="0.2816"/>
                  <dgm:constr type="w" for="ch" forName="dot10" refType="userD"/>
                  <dgm:constr type="h" for="ch" forName="dot10" refType="userD"/>
                  <dgm:constr type="ctrX" for="ch" forName="dotArrow1" refType="w" fact="0.7443"/>
                  <dgm:constr type="ctrY" for="ch" forName="dotArrow1" refType="h" fact="0.0748"/>
                  <dgm:constr type="w" for="ch" forName="dotArrow1" refType="userD"/>
                  <dgm:constr type="h" for="ch" forName="dotArrow1" refType="userD"/>
                  <dgm:constr type="ctrX" for="ch" forName="dotArrow2" refType="w" fact="0.7628"/>
                  <dgm:constr type="ctrY" for="ch" forName="dotArrow2" refType="h" fact="0.0581"/>
                  <dgm:constr type="w" for="ch" forName="dotArrow2" refType="userD"/>
                  <dgm:constr type="h" for="ch" forName="dotArrow2" refType="userD"/>
                  <dgm:constr type="ctrX" for="ch" forName="dotArrow3" refType="w" fact="0.7814"/>
                  <dgm:constr type="ctrY" for="ch" forName="dotArrow3" refType="h" fact="0.0414"/>
                  <dgm:constr type="w" for="ch" forName="dotArrow3" refType="userD"/>
                  <dgm:constr type="h" for="ch" forName="dotArrow3" refType="userD"/>
                  <dgm:constr type="ctrX" for="ch" forName="dotArrow4" refType="w" fact="0.7999"/>
                  <dgm:constr type="ctrY" for="ch" forName="dotArrow4" refType="h" fact="0.0581"/>
                  <dgm:constr type="w" for="ch" forName="dotArrow4" refType="userD"/>
                  <dgm:constr type="h" for="ch" forName="dotArrow4" refType="userD"/>
                  <dgm:constr type="ctrX" for="ch" forName="dotArrow5" refType="w" fact="0.8184"/>
                  <dgm:constr type="ctrY" for="ch" forName="dotArrow5" refType="h" fact="0.0748"/>
                  <dgm:constr type="w" for="ch" forName="dotArrow5" refType="userD"/>
                  <dgm:constr type="h" for="ch" forName="dotArrow5" refType="userD"/>
                  <dgm:constr type="ctrX" for="ch" forName="dotArrow6" refType="w" fact="0.7814"/>
                  <dgm:constr type="ctrY" for="ch" forName="dotArrow6" refType="h" fact="0.0766"/>
                  <dgm:constr type="w" for="ch" forName="dotArrow6" refType="userD"/>
                  <dgm:constr type="h" for="ch" forName="dotArrow6" refType="userD"/>
                  <dgm:constr type="ctrX" for="ch" forName="dotArrow7" refType="w" fact="0.7814"/>
                  <dgm:constr type="ctrY" for="ch" forName="dotArrow7" refType="h" fact="0.1118"/>
                  <dgm:constr type="w" for="ch" forName="dotArrow7" refType="userD"/>
                  <dgm:constr type="h" for="ch" forName="dotArrow7" refType="userD"/>
                  <dgm:constr type="l" for="ch" forName="parTx1" refType="w" fact="0.2479"/>
                  <dgm:constr type="t" for="ch" forName="parTx1" refType="h" fact="0.9416"/>
                  <dgm:constr type="w" for="ch" forName="parTx1" refType="w" fact="0.2696"/>
                  <dgm:constr type="h" for="ch" forName="parTx1" refType="h" fact="0.0811"/>
                  <dgm:constr type="ctrX" for="ch" forName="picture1" refType="w" fact="0.2356"/>
                  <dgm:constr type="ctrY" for="ch" forName="picture1" refType="h" fact="0.9322"/>
                  <dgm:constr type="w" for="ch" forName="picture1" refType="w" fact="0.125"/>
                  <dgm:constr type="h" for="ch" forName="picture1" refType="h" fact="0.1403"/>
                  <dgm:constr type="l" for="ch" forName="parTx2" refType="w" fact="0.5064"/>
                  <dgm:constr type="t" for="ch" forName="parTx2" refType="h" fact="0.8451"/>
                  <dgm:constr type="w" for="ch" forName="parTx2" refType="w" fact="0.2696"/>
                  <dgm:constr type="h" for="ch" forName="parTx2" refType="h" fact="0.0811"/>
                  <dgm:constr type="ctrX" for="ch" forName="picture2" refType="w" fact="0.4941"/>
                  <dgm:constr type="ctrY" for="ch" forName="picture2" refType="h" fact="0.8357"/>
                  <dgm:constr type="w" for="ch" forName="picture2" refType="w" fact="0.125"/>
                  <dgm:constr type="h" for="ch" forName="picture2" refType="h" fact="0.1403"/>
                  <dgm:constr type="l" for="ch" forName="parTx3" refType="w" fact="0.6339"/>
                  <dgm:constr type="t" for="ch" forName="parTx3" refType="h" fact="0.7006"/>
                  <dgm:constr type="w" for="ch" forName="parTx3" refType="w" fact="0.2696"/>
                  <dgm:constr type="h" for="ch" forName="parTx3" refType="h" fact="0.0811"/>
                  <dgm:constr type="ctrX" for="ch" forName="picture3" refType="w" fact="0.6216"/>
                  <dgm:constr type="ctrY" for="ch" forName="picture3" refType="h" fact="0.6912"/>
                  <dgm:constr type="w" for="ch" forName="picture3" refType="w" fact="0.125"/>
                  <dgm:constr type="h" for="ch" forName="picture3" refType="h" fact="0.1403"/>
                  <dgm:constr type="l" for="ch" forName="parTx4" refType="w" fact="0.7108"/>
                  <dgm:constr type="t" for="ch" forName="parTx4" refType="h" fact="0.5424"/>
                  <dgm:constr type="w" for="ch" forName="parTx4" refType="w" fact="0.2696"/>
                  <dgm:constr type="h" for="ch" forName="parTx4" refType="h" fact="0.0811"/>
                  <dgm:constr type="ctrX" for="ch" forName="picture4" refType="w" fact="0.6985"/>
                  <dgm:constr type="ctrY" for="ch" forName="picture4" refType="h" fact="0.533"/>
                  <dgm:constr type="w" for="ch" forName="picture4" refType="w" fact="0.125"/>
                  <dgm:constr type="h" for="ch" forName="picture4" refType="h" fact="0.1403"/>
                  <dgm:constr type="l" for="ch" forName="parTx5" refType="w" fact="0.7604"/>
                  <dgm:constr type="t" for="ch" forName="parTx5" refType="h" fact="0.372"/>
                  <dgm:constr type="w" for="ch" forName="parTx5" refType="w" fact="0.2696"/>
                  <dgm:constr type="h" for="ch" forName="parTx5" refType="h" fact="0.0811"/>
                  <dgm:constr type="ctrX" for="ch" forName="picture5" refType="w" fact="0.7481"/>
                  <dgm:constr type="ctrY" for="ch" forName="picture5" refType="h" fact="0.3626"/>
                  <dgm:constr type="w" for="ch" forName="picture5" refType="w" fact="0.125"/>
                  <dgm:constr type="h" for="ch" forName="picture5" refType="h" fact="0.1403"/>
                  <dgm:constr type="l" for="ch" forName="parTx6" refType="w" fact="0.7874"/>
                  <dgm:constr type="t" for="ch" forName="parTx6" refType="h" fact="0.2044"/>
                  <dgm:constr type="w" for="ch" forName="parTx6" refType="w" fact="0.2696"/>
                  <dgm:constr type="h" for="ch" forName="parTx6" refType="h" fact="0.0811"/>
                  <dgm:constr type="ctrX" for="ch" forName="picture6" refType="w" fact="0.7751"/>
                  <dgm:constr type="ctrY" for="ch" forName="picture6" refType="h" fact="0.195"/>
                  <dgm:constr type="w" for="ch" forName="picture6" refType="w" fact="0.125"/>
                  <dgm:constr type="h" for="ch" forName="picture6" refType="h" fact="0.1403"/>
                </dgm:constrLst>
              </dgm:else>
            </dgm:choose>
          </dgm:if>
          <dgm:else name="Name58">
            <dgm:choose name="Name59">
              <dgm:if name="Name60" axis="des" func="maxDepth" op="gt" val="1">
                <dgm:alg type="composite">
                  <dgm:param type="ar" val="1.3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userD" refType="w" fact="0.0105"/>
                  <dgm:constr type="ctrX" for="ch" forName="dot1" refType="w" fact="0.6392"/>
                  <dgm:constr type="ctrY" for="ch" forName="dot1" refType="h" fact="0.8839"/>
                  <dgm:constr type="w" for="ch" forName="dot1" refType="userD"/>
                  <dgm:constr type="h" for="ch" forName="dot1" refType="userD"/>
                  <dgm:constr type="ctrX" for="ch" forName="dot2" refType="w" fact="0.6616"/>
                  <dgm:constr type="ctrY" for="ch" forName="dot2" refType="h" fact="0.8967"/>
                  <dgm:constr type="w" for="ch" forName="dot2" refType="userD"/>
                  <dgm:constr type="h" for="ch" forName="dot2" refType="userD"/>
                  <dgm:constr type="ctrX" for="ch" forName="dot3" refType="w" fact="0.6845"/>
                  <dgm:constr type="ctrY" for="ch" forName="dot3" refType="h" fact="0.9076"/>
                  <dgm:constr type="w" for="ch" forName="dot3" refType="userD"/>
                  <dgm:constr type="h" for="ch" forName="dot3" refType="userD"/>
                  <dgm:constr type="ctrX" for="ch" forName="dot4" refType="w" fact="0.7077"/>
                  <dgm:constr type="ctrY" for="ch" forName="dot4" refType="h" fact="0.9165"/>
                  <dgm:constr type="w" for="ch" forName="dot4" refType="userD"/>
                  <dgm:constr type="h" for="ch" forName="dot4" refType="userD"/>
                  <dgm:constr type="ctrX" for="ch" forName="dot5" refType="w" fact="0.7312"/>
                  <dgm:constr type="ctrY" for="ch" forName="dot5" refType="h" fact="0.9234"/>
                  <dgm:constr type="w" for="ch" forName="dot5" refType="userD"/>
                  <dgm:constr type="h" for="ch" forName="dot5" refType="userD"/>
                  <dgm:constr type="ctrX" for="ch" forName="dot6" refType="w" fact="0.5117"/>
                  <dgm:constr type="ctrY" for="ch" forName="dot6" refType="h" fact="0.764"/>
                  <dgm:constr type="w" for="ch" forName="dot6" refType="userD"/>
                  <dgm:constr type="h" for="ch" forName="dot6" refType="userD"/>
                  <dgm:constr type="ctrX" for="ch" forName="dot7" refType="w" fact="0.5305"/>
                  <dgm:constr type="ctrY" for="ch" forName="dot7" refType="h" fact="0.7878"/>
                  <dgm:constr type="w" for="ch" forName="dot7" refType="userD"/>
                  <dgm:constr type="h" for="ch" forName="dot7" refType="userD"/>
                  <dgm:constr type="ctrX" for="ch" forName="dot8" refType="w" fact="0.4304"/>
                  <dgm:constr type="ctrY" for="ch" forName="dot8" refType="h" fact="0.6227"/>
                  <dgm:constr type="w" for="ch" forName="dot8" refType="userD"/>
                  <dgm:constr type="h" for="ch" forName="dot8" refType="userD"/>
                  <dgm:constr type="ctrX" for="ch" forName="dot9" refType="w" fact="0.3753"/>
                  <dgm:constr type="ctrY" for="ch" forName="dot9" refType="h" fact="0.4556"/>
                  <dgm:constr type="w" for="ch" forName="dot9" refType="userD"/>
                  <dgm:constr type="h" for="ch" forName="dot9" refType="userD"/>
                  <dgm:constr type="ctrX" for="ch" forName="dot10" refType="w" fact="0.3491"/>
                  <dgm:constr type="ctrY" for="ch" forName="dot10" refType="h" fact="0.2816"/>
                  <dgm:constr type="w" for="ch" forName="dot10" refType="userD"/>
                  <dgm:constr type="h" for="ch" forName="dot10" refType="userD"/>
                  <dgm:constr type="ctrX" for="ch" forName="dotArrow1" refType="w" fact="0.3719"/>
                  <dgm:constr type="ctrY" for="ch" forName="dotArrow1" refType="h" fact="0.0748"/>
                  <dgm:constr type="w" for="ch" forName="dotArrow1" refType="userD"/>
                  <dgm:constr type="h" for="ch" forName="dotArrow1" refType="userD"/>
                  <dgm:constr type="ctrX" for="ch" forName="dotArrow2" refType="w" fact="0.3563"/>
                  <dgm:constr type="ctrY" for="ch" forName="dotArrow2" refType="h" fact="0.0581"/>
                  <dgm:constr type="w" for="ch" forName="dotArrow2" refType="userD"/>
                  <dgm:constr type="h" for="ch" forName="dotArrow2" refType="userD"/>
                  <dgm:constr type="ctrX" for="ch" forName="dotArrow3" refType="w" fact="0.3407"/>
                  <dgm:constr type="ctrY" for="ch" forName="dotArrow3" refType="h" fact="0.0414"/>
                  <dgm:constr type="w" for="ch" forName="dotArrow3" refType="userD"/>
                  <dgm:constr type="h" for="ch" forName="dotArrow3" refType="userD"/>
                  <dgm:constr type="ctrX" for="ch" forName="dotArrow4" refType="w" fact="0.325"/>
                  <dgm:constr type="ctrY" for="ch" forName="dotArrow4" refType="h" fact="0.0581"/>
                  <dgm:constr type="w" for="ch" forName="dotArrow4" refType="userD"/>
                  <dgm:constr type="h" for="ch" forName="dotArrow4" refType="userD"/>
                  <dgm:constr type="ctrX" for="ch" forName="dotArrow5" refType="w" fact="0.3094"/>
                  <dgm:constr type="ctrY" for="ch" forName="dotArrow5" refType="h" fact="0.0748"/>
                  <dgm:constr type="w" for="ch" forName="dotArrow5" refType="userD"/>
                  <dgm:constr type="h" for="ch" forName="dotArrow5" refType="userD"/>
                  <dgm:constr type="ctrX" for="ch" forName="dotArrow6" refType="w" fact="0.3407"/>
                  <dgm:constr type="ctrY" for="ch" forName="dotArrow6" refType="h" fact="0.0766"/>
                  <dgm:constr type="w" for="ch" forName="dotArrow6" refType="userD"/>
                  <dgm:constr type="h" for="ch" forName="dotArrow6" refType="userD"/>
                  <dgm:constr type="ctrX" for="ch" forName="dotArrow7" refType="w" fact="0.3407"/>
                  <dgm:constr type="ctrY" for="ch" forName="dotArrow7" refType="h" fact="0.1118"/>
                  <dgm:constr type="w" for="ch" forName="dotArrow7" refType="userD"/>
                  <dgm:constr type="h" for="ch" forName="dotArrow7" refType="userD"/>
                  <dgm:constr type="r" for="ch" forName="parTx1" refType="w" fact="0.7909"/>
                  <dgm:constr type="t" for="ch" forName="parTx1" refType="h" fact="0.9433"/>
                  <dgm:constr type="w" for="ch" forName="parTx1" refType="w" fact="0.2275"/>
                  <dgm:constr type="h" for="ch" forName="parTx1" refType="h" fact="0.0811"/>
                  <dgm:constr type="ctrX" for="ch" forName="picture1" refType="w" fact="0.8012"/>
                  <dgm:constr type="ctrY" for="ch" forName="picture1" refType="h" fact="0.9322"/>
                  <dgm:constr type="w" for="ch" forName="picture1" refType="w" fact="0.1055"/>
                  <dgm:constr type="h" for="ch" forName="picture1" refType="h" fact="0.1403"/>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727"/>
                  <dgm:constr type="t" for="ch" forName="parTx2" refType="h" fact="0.8468"/>
                  <dgm:constr type="w" for="ch" forName="parTx2" refType="w" fact="0.2275"/>
                  <dgm:constr type="h" for="ch" forName="parTx2" refType="h" fact="0.0811"/>
                  <dgm:constr type="ctrX" for="ch" forName="picture2" refType="w" fact="0.5831"/>
                  <dgm:constr type="ctrY" for="ch" forName="picture2" refType="h" fact="0.8357"/>
                  <dgm:constr type="w" for="ch" forName="picture2" refType="w" fact="0.1055"/>
                  <dgm:constr type="h" for="ch" forName="picture2" refType="h" fact="0.1403"/>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651"/>
                  <dgm:constr type="t" for="ch" forName="parTx3" refType="h" fact="0.7023"/>
                  <dgm:constr type="w" for="ch" forName="parTx3" refType="w" fact="0.2275"/>
                  <dgm:constr type="h" for="ch" forName="parTx3" refType="h" fact="0.0811"/>
                  <dgm:constr type="ctrX" for="ch" forName="picture3" refType="w" fact="0.4755"/>
                  <dgm:constr type="ctrY" for="ch" forName="picture3" refType="h" fact="0.6912"/>
                  <dgm:constr type="w" for="ch" forName="picture3" refType="w" fact="0.1055"/>
                  <dgm:constr type="h" for="ch" forName="picture3" refType="h" fact="0.1403"/>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4002"/>
                  <dgm:constr type="t" for="ch" forName="parTx4" refType="h" fact="0.5441"/>
                  <dgm:constr type="w" for="ch" forName="parTx4" refType="w" fact="0.2275"/>
                  <dgm:constr type="h" for="ch" forName="parTx4" refType="h" fact="0.0811"/>
                  <dgm:constr type="ctrX" for="ch" forName="picture4" refType="w" fact="0.4106"/>
                  <dgm:constr type="ctrY" for="ch" forName="picture4" refType="h" fact="0.533"/>
                  <dgm:constr type="w" for="ch" forName="picture4" refType="w" fact="0.1055"/>
                  <dgm:constr type="h" for="ch" forName="picture4" refType="h" fact="0.1403"/>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584"/>
                  <dgm:constr type="t" for="ch" forName="parTx5" refType="h" fact="0.3737"/>
                  <dgm:constr type="w" for="ch" forName="parTx5" refType="w" fact="0.2275"/>
                  <dgm:constr type="h" for="ch" forName="parTx5" refType="h" fact="0.0811"/>
                  <dgm:constr type="ctrX" for="ch" forName="picture5" refType="w" fact="0.3687"/>
                  <dgm:constr type="ctrY" for="ch" forName="picture5" refType="h" fact="0.3626"/>
                  <dgm:constr type="w" for="ch" forName="picture5" refType="w" fact="0.1055"/>
                  <dgm:constr type="h" for="ch" forName="picture5" refType="h" fact="0.1403"/>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356"/>
                  <dgm:constr type="t" for="ch" forName="parTx6" refType="h" fact="0.2061"/>
                  <dgm:constr type="w" for="ch" forName="parTx6" refType="w" fact="0.2275"/>
                  <dgm:constr type="h" for="ch" forName="parTx6" refType="h" fact="0.0811"/>
                  <dgm:constr type="ctrX" for="ch" forName="picture6" refType="w" fact="0.3459"/>
                  <dgm:constr type="ctrY" for="ch" forName="picture6" refType="h" fact="0.195"/>
                  <dgm:constr type="w" for="ch" forName="picture6" refType="w" fact="0.1055"/>
                  <dgm:constr type="h" for="ch" forName="picture6" refType="h" fact="0.1403"/>
                  <dgm:constr type="r" for="ch" forName="desTx6" refType="l" refFor="ch" refForName="parTx6"/>
                  <dgm:constr type="l" for="ch" forName="desTx6"/>
                  <dgm:constr type="t" for="ch" forName="desTx6" refType="t" refFor="ch" refForName="parTx6"/>
                  <dgm:constr type="h" for="ch" forName="desTx6" refType="h" refFor="ch" refForName="parTx6"/>
                </dgm:constrLst>
              </dgm:if>
              <dgm:else name="Name61">
                <dgm:alg type="composite">
                  <dgm:param type="ar" val="1.1223"/>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userD" refType="w" fact="0.0125"/>
                  <dgm:constr type="ctrX" for="ch" forName="dot1" refType="w" fact="0.5724"/>
                  <dgm:constr type="ctrY" for="ch" forName="dot1" refType="h" fact="0.8839"/>
                  <dgm:constr type="w" for="ch" forName="dot1" refType="userD"/>
                  <dgm:constr type="h" for="ch" forName="dot1" refType="userD"/>
                  <dgm:constr type="ctrX" for="ch" forName="dot2" refType="w" fact="0.599"/>
                  <dgm:constr type="ctrY" for="ch" forName="dot2" refType="h" fact="0.8967"/>
                  <dgm:constr type="w" for="ch" forName="dot2" refType="userD"/>
                  <dgm:constr type="h" for="ch" forName="dot2" refType="userD"/>
                  <dgm:constr type="ctrX" for="ch" forName="dot3" refType="w" fact="0.6261"/>
                  <dgm:constr type="ctrY" for="ch" forName="dot3" refType="h" fact="0.9076"/>
                  <dgm:constr type="w" for="ch" forName="dot3" refType="userD"/>
                  <dgm:constr type="h" for="ch" forName="dot3" refType="userD"/>
                  <dgm:constr type="ctrX" for="ch" forName="dot4" refType="w" fact="0.6536"/>
                  <dgm:constr type="ctrY" for="ch" forName="dot4" refType="h" fact="0.9165"/>
                  <dgm:constr type="w" for="ch" forName="dot4" refType="userD"/>
                  <dgm:constr type="h" for="ch" forName="dot4" refType="userD"/>
                  <dgm:constr type="ctrX" for="ch" forName="dot5" refType="w" fact="0.6814"/>
                  <dgm:constr type="ctrY" for="ch" forName="dot5" refType="h" fact="0.9234"/>
                  <dgm:constr type="w" for="ch" forName="dot5" refType="userD"/>
                  <dgm:constr type="h" for="ch" forName="dot5" refType="userD"/>
                  <dgm:constr type="ctrX" for="ch" forName="dot6" refType="w" fact="0.4214"/>
                  <dgm:constr type="ctrY" for="ch" forName="dot6" refType="h" fact="0.764"/>
                  <dgm:constr type="w" for="ch" forName="dot6" refType="userD"/>
                  <dgm:constr type="h" for="ch" forName="dot6" refType="userD"/>
                  <dgm:constr type="ctrX" for="ch" forName="dot7" refType="w" fact="0.4436"/>
                  <dgm:constr type="ctrY" for="ch" forName="dot7" refType="h" fact="0.7878"/>
                  <dgm:constr type="w" for="ch" forName="dot7" refType="userD"/>
                  <dgm:constr type="h" for="ch" forName="dot7" refType="userD"/>
                  <dgm:constr type="ctrX" for="ch" forName="dot8" refType="w" fact="0.325"/>
                  <dgm:constr type="ctrY" for="ch" forName="dot8" refType="h" fact="0.6227"/>
                  <dgm:constr type="w" for="ch" forName="dot8" refType="userD"/>
                  <dgm:constr type="h" for="ch" forName="dot8" refType="userD"/>
                  <dgm:constr type="ctrX" for="ch" forName="dot9" refType="w" fact="0.2597"/>
                  <dgm:constr type="ctrY" for="ch" forName="dot9" refType="h" fact="0.4556"/>
                  <dgm:constr type="w" for="ch" forName="dot9" refType="userD"/>
                  <dgm:constr type="h" for="ch" forName="dot9" refType="userD"/>
                  <dgm:constr type="ctrX" for="ch" forName="dot10" refType="w" fact="0.2286"/>
                  <dgm:constr type="ctrY" for="ch" forName="dot10" refType="h" fact="0.2816"/>
                  <dgm:constr type="w" for="ch" forName="dot10" refType="userD"/>
                  <dgm:constr type="h" for="ch" forName="dot10" refType="userD"/>
                  <dgm:constr type="ctrX" for="ch" forName="dotArrow1" refType="w" fact="0.2557"/>
                  <dgm:constr type="ctrY" for="ch" forName="dotArrow1" refType="h" fact="0.0748"/>
                  <dgm:constr type="w" for="ch" forName="dotArrow1" refType="userD"/>
                  <dgm:constr type="h" for="ch" forName="dotArrow1" refType="userD"/>
                  <dgm:constr type="ctrX" for="ch" forName="dotArrow2" refType="w" fact="0.2372"/>
                  <dgm:constr type="ctrY" for="ch" forName="dotArrow2" refType="h" fact="0.0581"/>
                  <dgm:constr type="w" for="ch" forName="dotArrow2" refType="userD"/>
                  <dgm:constr type="h" for="ch" forName="dotArrow2" refType="userD"/>
                  <dgm:constr type="ctrX" for="ch" forName="dotArrow3" refType="w" fact="0.2187"/>
                  <dgm:constr type="ctrY" for="ch" forName="dotArrow3" refType="h" fact="0.0414"/>
                  <dgm:constr type="w" for="ch" forName="dotArrow3" refType="userD"/>
                  <dgm:constr type="h" for="ch" forName="dotArrow3" refType="userD"/>
                  <dgm:constr type="ctrX" for="ch" forName="dotArrow4" refType="w" fact="0.2001"/>
                  <dgm:constr type="ctrY" for="ch" forName="dotArrow4" refType="h" fact="0.0581"/>
                  <dgm:constr type="w" for="ch" forName="dotArrow4" refType="userD"/>
                  <dgm:constr type="h" for="ch" forName="dotArrow4" refType="userD"/>
                  <dgm:constr type="ctrX" for="ch" forName="dotArrow5" refType="w" fact="0.1816"/>
                  <dgm:constr type="ctrY" for="ch" forName="dotArrow5" refType="h" fact="0.0748"/>
                  <dgm:constr type="w" for="ch" forName="dotArrow5" refType="userD"/>
                  <dgm:constr type="h" for="ch" forName="dotArrow5" refType="userD"/>
                  <dgm:constr type="ctrX" for="ch" forName="dotArrow6" refType="w" fact="0.2187"/>
                  <dgm:constr type="ctrY" for="ch" forName="dotArrow6" refType="h" fact="0.0766"/>
                  <dgm:constr type="w" for="ch" forName="dotArrow6" refType="userD"/>
                  <dgm:constr type="h" for="ch" forName="dotArrow6" refType="userD"/>
                  <dgm:constr type="ctrX" for="ch" forName="dotArrow7" refType="w" fact="0.2187"/>
                  <dgm:constr type="ctrY" for="ch" forName="dotArrow7" refType="h" fact="0.1118"/>
                  <dgm:constr type="w" for="ch" forName="dotArrow7" refType="userD"/>
                  <dgm:constr type="h" for="ch" forName="dotArrow7" refType="userD"/>
                  <dgm:constr type="r" for="ch" forName="parTx1" refType="w" fact="0.7522"/>
                  <dgm:constr type="t" for="ch" forName="parTx1" refType="h" fact="0.9416"/>
                  <dgm:constr type="w" for="ch" forName="parTx1" refType="w" fact="0.2696"/>
                  <dgm:constr type="h" for="ch" forName="parTx1" refType="h" fact="0.0811"/>
                  <dgm:constr type="ctrX" for="ch" forName="picture1" refType="w" fact="0.7644"/>
                  <dgm:constr type="ctrY" for="ch" forName="picture1" refType="h" fact="0.9322"/>
                  <dgm:constr type="w" for="ch" forName="picture1" refType="w" fact="0.125"/>
                  <dgm:constr type="h" for="ch" forName="picture1" refType="h" fact="0.1403"/>
                  <dgm:constr type="r" for="ch" forName="parTx2" refType="w" fact="0.4937"/>
                  <dgm:constr type="t" for="ch" forName="parTx2" refType="h" fact="0.8451"/>
                  <dgm:constr type="w" for="ch" forName="parTx2" refType="w" fact="0.2696"/>
                  <dgm:constr type="h" for="ch" forName="parTx2" refType="h" fact="0.0811"/>
                  <dgm:constr type="ctrX" for="ch" forName="picture2" refType="w" fact="0.5059"/>
                  <dgm:constr type="ctrY" for="ch" forName="picture2" refType="h" fact="0.8357"/>
                  <dgm:constr type="w" for="ch" forName="picture2" refType="w" fact="0.125"/>
                  <dgm:constr type="h" for="ch" forName="picture2" refType="h" fact="0.1403"/>
                  <dgm:constr type="r" for="ch" forName="parTx3" refType="w" fact="0.3662"/>
                  <dgm:constr type="t" for="ch" forName="parTx3" refType="h" fact="0.7006"/>
                  <dgm:constr type="w" for="ch" forName="parTx3" refType="w" fact="0.2696"/>
                  <dgm:constr type="h" for="ch" forName="parTx3" refType="h" fact="0.0811"/>
                  <dgm:constr type="ctrX" for="ch" forName="picture3" refType="w" fact="0.3784"/>
                  <dgm:constr type="ctrY" for="ch" forName="picture3" refType="h" fact="0.6912"/>
                  <dgm:constr type="w" for="ch" forName="picture3" refType="w" fact="0.125"/>
                  <dgm:constr type="h" for="ch" forName="picture3" refType="h" fact="0.1403"/>
                  <dgm:constr type="r" for="ch" forName="parTx4" refType="w" fact="0.2893"/>
                  <dgm:constr type="t" for="ch" forName="parTx4" refType="h" fact="0.5424"/>
                  <dgm:constr type="w" for="ch" forName="parTx4" refType="w" fact="0.2696"/>
                  <dgm:constr type="h" for="ch" forName="parTx4" refType="h" fact="0.0811"/>
                  <dgm:constr type="ctrX" for="ch" forName="picture4" refType="w" fact="0.3015"/>
                  <dgm:constr type="ctrY" for="ch" forName="picture4" refType="h" fact="0.533"/>
                  <dgm:constr type="w" for="ch" forName="picture4" refType="w" fact="0.125"/>
                  <dgm:constr type="h" for="ch" forName="picture4" refType="h" fact="0.1403"/>
                  <dgm:constr type="r" for="ch" forName="parTx5" refType="w" fact="0.2397"/>
                  <dgm:constr type="t" for="ch" forName="parTx5" refType="h" fact="0.372"/>
                  <dgm:constr type="w" for="ch" forName="parTx5" refType="w" fact="0.2696"/>
                  <dgm:constr type="h" for="ch" forName="parTx5" refType="h" fact="0.0811"/>
                  <dgm:constr type="ctrX" for="ch" forName="picture5" refType="w" fact="0.2519"/>
                  <dgm:constr type="ctrY" for="ch" forName="picture5" refType="h" fact="0.3626"/>
                  <dgm:constr type="w" for="ch" forName="picture5" refType="w" fact="0.125"/>
                  <dgm:constr type="h" for="ch" forName="picture5" refType="h" fact="0.1403"/>
                  <dgm:constr type="r" for="ch" forName="parTx6" refType="w" fact="0.2127"/>
                  <dgm:constr type="t" for="ch" forName="parTx6" refType="h" fact="0.2044"/>
                  <dgm:constr type="w" for="ch" forName="parTx6" refType="w" fact="0.2696"/>
                  <dgm:constr type="h" for="ch" forName="parTx6" refType="h" fact="0.0811"/>
                  <dgm:constr type="ctrX" for="ch" forName="picture6" refType="w" fact="0.2249"/>
                  <dgm:constr type="ctrY" for="ch" forName="picture6" refType="h" fact="0.195"/>
                  <dgm:constr type="w" for="ch" forName="picture6" refType="w" fact="0.125"/>
                  <dgm:constr type="h" for="ch" forName="picture6" refType="h" fact="0.1403"/>
                </dgm:constrLst>
              </dgm:else>
            </dgm:choose>
          </dgm:else>
        </dgm:choose>
      </dgm:if>
      <dgm:else name="Name62">
        <dgm:choose name="Name63">
          <dgm:if name="Name64" func="var" arg="dir" op="equ" val="norm">
            <dgm:choose name="Name65">
              <dgm:if name="Name66"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3909"/>
                  <dgm:constr type="ctrY" for="ch" forName="dot1" refType="h" fact="0.8342"/>
                  <dgm:constr type="w" for="ch" forName="dot1" refType="userD"/>
                  <dgm:constr type="h" for="ch" forName="dot1" refType="userD"/>
                  <dgm:constr type="ctrX" for="ch" forName="dot2" refType="w" fact="0.3721"/>
                  <dgm:constr type="ctrY" for="ch" forName="dot2" refType="h" fact="0.8448"/>
                  <dgm:constr type="w" for="ch" forName="dot2" refType="userD"/>
                  <dgm:constr type="h" for="ch" forName="dot2" refType="userD"/>
                  <dgm:constr type="ctrX" for="ch" forName="dot3" refType="w" fact="0.353"/>
                  <dgm:constr type="ctrY" for="ch" forName="dot3" refType="h" fact="0.8539"/>
                  <dgm:constr type="w" for="ch" forName="dot3" refType="userD"/>
                  <dgm:constr type="h" for="ch" forName="dot3" refType="userD"/>
                  <dgm:constr type="ctrX" for="ch" forName="dot4" refType="w" fact="0.3337"/>
                  <dgm:constr type="ctrY" for="ch" forName="dot4" refType="h" fact="0.8615"/>
                  <dgm:constr type="w" for="ch" forName="dot4" refType="userD"/>
                  <dgm:constr type="h" for="ch" forName="dot4" refType="userD"/>
                  <dgm:constr type="ctrX" for="ch" forName="dot5" refType="w" fact="0.3142"/>
                  <dgm:constr type="ctrY" for="ch" forName="dot5" refType="h" fact="0.8676"/>
                  <dgm:constr type="w" for="ch" forName="dot5" refType="userD"/>
                  <dgm:constr type="h" for="ch" forName="dot5" refType="userD"/>
                  <dgm:constr type="ctrX" for="ch" forName="dot6" refType="w" fact="0.5088"/>
                  <dgm:constr type="ctrY" for="ch" forName="dot6" refType="h" fact="0.7255"/>
                  <dgm:constr type="w" for="ch" forName="dot6" refType="userD"/>
                  <dgm:constr type="h" for="ch" forName="dot6" refType="userD"/>
                  <dgm:constr type="ctrX" for="ch" forName="dot7" refType="w" fact="0.4926"/>
                  <dgm:constr type="ctrY" for="ch" forName="dot7" refType="h" fact="0.7454"/>
                  <dgm:constr type="w" for="ch" forName="dot7" refType="userD"/>
                  <dgm:constr type="h" for="ch" forName="dot7" refType="userD"/>
                  <dgm:constr type="ctrX" for="ch" forName="dot8" refType="w" fact="0.5836"/>
                  <dgm:constr type="ctrY" for="ch" forName="dot8" refType="h" fact="0.6026"/>
                  <dgm:constr type="w" for="ch" forName="dot8" refType="userD"/>
                  <dgm:constr type="h" for="ch" forName="dot8" refType="userD"/>
                  <dgm:constr type="ctrX" for="ch" forName="dot9" refType="w" fact="0.6371"/>
                  <dgm:constr type="ctrY" for="ch" forName="dot9" refType="h" fact="0.4632"/>
                  <dgm:constr type="w" for="ch" forName="dot9" refType="userD"/>
                  <dgm:constr type="h" for="ch" forName="dot9" refType="userD"/>
                  <dgm:constr type="ctrX" for="ch" forName="dot10" refType="w" fact="0.6701"/>
                  <dgm:constr type="ctrY" for="ch" forName="dot10" refType="h" fact="0.3187"/>
                  <dgm:constr type="w" for="ch" forName="dot10" refType="userD"/>
                  <dgm:constr type="h" for="ch" forName="dot10" refType="userD"/>
                  <dgm:constr type="ctrX" for="ch" forName="dot11" refType="w" fact="0.6853"/>
                  <dgm:constr type="ctrY" for="ch" forName="dot11" refType="h" fact="0.1763"/>
                  <dgm:constr type="w" for="ch" forName="dot11" refType="userD"/>
                  <dgm:constr type="h" for="ch" forName="dot11" refType="userD"/>
                  <dgm:constr type="ctrX" for="ch" forName="dotArrow1" refType="w" fact="0.6627"/>
                  <dgm:constr type="ctrY" for="ch" forName="dotArrow1" refType="h" fact="-0.0099"/>
                  <dgm:constr type="w" for="ch" forName="dotArrow1" refType="userD"/>
                  <dgm:constr type="h" for="ch" forName="dotArrow1" refType="userD"/>
                  <dgm:constr type="ctrX" for="ch" forName="dotArrow2" refType="w" fact="0.6773"/>
                  <dgm:constr type="ctrY" for="ch" forName="dotArrow2" refType="h" fact="-0.0239"/>
                  <dgm:constr type="w" for="ch" forName="dotArrow2" refType="userD"/>
                  <dgm:constr type="h" for="ch" forName="dotArrow2" refType="userD"/>
                  <dgm:constr type="ctrX" for="ch" forName="dotArrow3" refType="w" fact="0.6919"/>
                  <dgm:constr type="ctrY" for="ch" forName="dotArrow3" refType="h" fact="-0.0378"/>
                  <dgm:constr type="w" for="ch" forName="dotArrow3" refType="userD"/>
                  <dgm:constr type="h" for="ch" forName="dotArrow3" refType="userD"/>
                  <dgm:constr type="ctrX" for="ch" forName="dotArrow4" refType="w" fact="0.7065"/>
                  <dgm:constr type="ctrY" for="ch" forName="dotArrow4" refType="h" fact="-0.0239"/>
                  <dgm:constr type="w" for="ch" forName="dotArrow4" refType="userD"/>
                  <dgm:constr type="h" for="ch" forName="dotArrow4" refType="userD"/>
                  <dgm:constr type="ctrX" for="ch" forName="dotArrow5" refType="w" fact="0.7212"/>
                  <dgm:constr type="ctrY" for="ch" forName="dotArrow5" refType="h" fact="-0.0099"/>
                  <dgm:constr type="w" for="ch" forName="dotArrow5" refType="userD"/>
                  <dgm:constr type="h" for="ch" forName="dotArrow5" refType="userD"/>
                  <dgm:constr type="ctrX" for="ch" forName="dotArrow6" refType="w" fact="0.6919"/>
                  <dgm:constr type="ctrY" for="ch" forName="dotArrow6" refType="h" fact="-0.0084"/>
                  <dgm:constr type="w" for="ch" forName="dotArrow6" refType="userD"/>
                  <dgm:constr type="h" for="ch" forName="dotArrow6" refType="userD"/>
                  <dgm:constr type="ctrX" for="ch" forName="dotArrow7" refType="w" fact="0.6919"/>
                  <dgm:constr type="ctrY" for="ch" forName="dotArrow7" refType="h" fact="0.0211"/>
                  <dgm:constr type="w" for="ch" forName="dotArrow7" refType="userD"/>
                  <dgm:constr type="h" for="ch" forName="dotArrow7" refType="userD"/>
                  <dgm:constr type="l" for="ch" forName="parTx1" refType="w" fact="0.2556"/>
                  <dgm:constr type="t" for="ch" forName="parTx1" refType="h" fact="0.8856"/>
                  <dgm:constr type="w" for="ch" forName="parTx1" refType="w" fact="0.2101"/>
                  <dgm:constr type="h" for="ch" forName="parTx1" refType="h" fact="0.0704"/>
                  <dgm:constr type="ctrX" for="ch" forName="picture1" refType="w" fact="0.246"/>
                  <dgm:constr type="ctrY" for="ch" forName="picture1" refType="h" fact="0.8769"/>
                  <dgm:constr type="w" for="ch" forName="picture1" refType="w" fact="0.0974"/>
                  <dgm:constr type="h" for="ch" forName="picture1" refType="h" fact="0.1218"/>
                  <dgm:constr type="l" for="ch" forName="desTx1" refType="r" refFor="ch" refForName="parTx1"/>
                  <dgm:constr type="r" for="ch" forName="desTx1" refType="w"/>
                  <dgm:constr type="t" for="ch" forName="desTx1" refType="t" refFor="ch" refForName="parTx1"/>
                  <dgm:constr type="h" for="ch" forName="desTx1" refType="h" refFor="ch" refForName="parTx1"/>
                  <dgm:constr type="l" for="ch" forName="parTx2" refType="w" fact="0.4535"/>
                  <dgm:constr type="t" for="ch" forName="parTx2" refType="h" fact="0.7956"/>
                  <dgm:constr type="w" for="ch" forName="parTx2" refType="w" fact="0.2101"/>
                  <dgm:constr type="h" for="ch" forName="parTx2" refType="h" fact="0.0704"/>
                  <dgm:constr type="ctrX" for="ch" forName="picture2" refType="w" fact="0.4439"/>
                  <dgm:constr type="ctrY" for="ch" forName="picture2" refType="h" fact="0.787"/>
                  <dgm:constr type="w" for="ch" forName="picture2" refType="w" fact="0.0974"/>
                  <dgm:constr type="h" for="ch" forName="picture2" refType="h" fact="0.1218"/>
                  <dgm:constr type="l" for="ch" forName="desTx2" refType="r" refFor="ch" refForName="parTx2"/>
                  <dgm:constr type="r" for="ch" forName="desTx2" refType="w"/>
                  <dgm:constr type="t" for="ch" forName="desTx2" refType="t" refFor="ch" refForName="parTx2"/>
                  <dgm:constr type="h" for="ch" forName="desTx2" refType="h" refFor="ch" refForName="parTx2"/>
                  <dgm:constr type="l" for="ch" forName="parTx3" refType="w" fact="0.5511"/>
                  <dgm:constr type="t" for="ch" forName="parTx3" refType="h" fact="0.673"/>
                  <dgm:constr type="w" for="ch" forName="parTx3" refType="w" fact="0.2101"/>
                  <dgm:constr type="h" for="ch" forName="parTx3" refType="h" fact="0.0704"/>
                  <dgm:constr type="ctrX" for="ch" forName="picture3" refType="w" fact="0.5415"/>
                  <dgm:constr type="ctrY" for="ch" forName="picture3" refType="h" fact="0.6644"/>
                  <dgm:constr type="w" for="ch" forName="picture3" refType="w" fact="0.0974"/>
                  <dgm:constr type="h" for="ch" forName="picture3" refType="h" fact="0.1218"/>
                  <dgm:constr type="l" for="ch" forName="desTx3" refType="r" refFor="ch" refForName="parTx3"/>
                  <dgm:constr type="r" for="ch" forName="desTx3" refType="w"/>
                  <dgm:constr type="t" for="ch" forName="desTx3" refType="t" refFor="ch" refForName="parTx3"/>
                  <dgm:constr type="h" for="ch" forName="desTx3" refType="h" refFor="ch" refForName="parTx3"/>
                  <dgm:constr type="l" for="ch" forName="parTx4" refType="w" fact="0.6132"/>
                  <dgm:constr type="t" for="ch" forName="parTx4" refType="h" fact="0.538"/>
                  <dgm:constr type="w" for="ch" forName="parTx4" refType="w" fact="0.2101"/>
                  <dgm:constr type="h" for="ch" forName="parTx4" refType="h" fact="0.0704"/>
                  <dgm:constr type="ctrX" for="ch" forName="picture4" refType="w" fact="0.6037"/>
                  <dgm:constr type="ctrY" for="ch" forName="picture4" refType="h" fact="0.5294"/>
                  <dgm:constr type="w" for="ch" forName="picture4" refType="w" fact="0.0974"/>
                  <dgm:constr type="h" for="ch" forName="picture4" refType="h" fact="0.1218"/>
                  <dgm:constr type="l" for="ch" forName="desTx4" refType="r" refFor="ch" refForName="parTx4"/>
                  <dgm:constr type="r" for="ch" forName="desTx4" refType="w"/>
                  <dgm:constr type="t" for="ch" forName="desTx4" refType="t" refFor="ch" refForName="parTx4"/>
                  <dgm:constr type="h" for="ch" forName="desTx4" refType="h" refFor="ch" refForName="parTx4"/>
                  <dgm:constr type="l" for="ch" forName="parTx5" refType="w" fact="0.6576"/>
                  <dgm:constr type="t" for="ch" forName="parTx5" refType="h" fact="0.3951"/>
                  <dgm:constr type="w" for="ch" forName="parTx5" refType="w" fact="0.2101"/>
                  <dgm:constr type="h" for="ch" forName="parTx5" refType="h" fact="0.0704"/>
                  <dgm:constr type="ctrX" for="ch" forName="picture5" refType="w" fact="0.648"/>
                  <dgm:constr type="ctrY" for="ch" forName="picture5" refType="h" fact="0.3864"/>
                  <dgm:constr type="w" for="ch" forName="picture5" refType="w" fact="0.0974"/>
                  <dgm:constr type="h" for="ch" forName="picture5" refType="h" fact="0.1218"/>
                  <dgm:constr type="l" for="ch" forName="desTx5" refType="r" refFor="ch" refForName="parTx5"/>
                  <dgm:constr type="r" for="ch" forName="desTx5" refType="w"/>
                  <dgm:constr type="t" for="ch" forName="desTx5" refType="t" refFor="ch" refForName="parTx5"/>
                  <dgm:constr type="h" for="ch" forName="desTx5" refType="h" refFor="ch" refForName="parTx5"/>
                  <dgm:constr type="l" for="ch" forName="parTx6" refType="w" fact="0.6828"/>
                  <dgm:constr type="t" for="ch" forName="parTx6" refType="h" fact="0.2531"/>
                  <dgm:constr type="w" for="ch" forName="parTx6" refType="w" fact="0.2101"/>
                  <dgm:constr type="h" for="ch" forName="parTx6" refType="h" fact="0.0704"/>
                  <dgm:constr type="ctrX" for="ch" forName="picture6" refType="w" fact="0.6733"/>
                  <dgm:constr type="ctrY" for="ch" forName="picture6" refType="h" fact="0.2444"/>
                  <dgm:constr type="w" for="ch" forName="picture6" refType="w" fact="0.0974"/>
                  <dgm:constr type="h" for="ch" forName="picture6" refType="h" fact="0.1218"/>
                  <dgm:constr type="l" for="ch" forName="desTx6" refType="r" refFor="ch" refForName="parTx6"/>
                  <dgm:constr type="r" for="ch" forName="desTx6" refType="w"/>
                  <dgm:constr type="t" for="ch" forName="desTx6" refType="t" refFor="ch" refForName="parTx6"/>
                  <dgm:constr type="h" for="ch" forName="desTx6" refType="h" refFor="ch" refForName="parTx6"/>
                  <dgm:constr type="l" for="ch" forName="parTx7" refType="w" fact="0.6966"/>
                  <dgm:constr type="t" for="ch" forName="parTx7" refType="h" fact="0.1162"/>
                  <dgm:constr type="w" for="ch" forName="parTx7" refType="w" fact="0.2101"/>
                  <dgm:constr type="h" for="ch" forName="parTx7" refType="h" fact="0.0704"/>
                  <dgm:constr type="ctrX" for="ch" forName="picture7" refType="w" fact="0.6871"/>
                  <dgm:constr type="ctrY" for="ch" forName="picture7" refType="h" fact="0.1075"/>
                  <dgm:constr type="w" for="ch" forName="picture7" refType="w" fact="0.0974"/>
                  <dgm:constr type="h" for="ch" forName="picture7" refType="h" fact="0.1218"/>
                  <dgm:constr type="l" for="ch" forName="desTx7" refType="r" refFor="ch" refForName="parTx7"/>
                  <dgm:constr type="r" for="ch" forName="desTx7" refType="w"/>
                  <dgm:constr type="t" for="ch" forName="desTx7" refType="t" refFor="ch" refForName="parTx7"/>
                  <dgm:constr type="h" for="ch" forName="desTx7" refType="h" refFor="ch" refForName="parTx7"/>
                </dgm:constrLst>
              </dgm:if>
              <dgm:else name="Name67">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4459"/>
                  <dgm:constr type="ctrY" for="ch" forName="dot1" refType="h" fact="0.8342"/>
                  <dgm:constr type="w" for="ch" forName="dot1" refType="userD"/>
                  <dgm:constr type="h" for="ch" forName="dot1" refType="userD"/>
                  <dgm:constr type="ctrX" for="ch" forName="dot2" refType="w" fact="0.4244"/>
                  <dgm:constr type="ctrY" for="ch" forName="dot2" refType="h" fact="0.8448"/>
                  <dgm:constr type="w" for="ch" forName="dot2" refType="userD"/>
                  <dgm:constr type="h" for="ch" forName="dot2" refType="userD"/>
                  <dgm:constr type="ctrX" for="ch" forName="dot3" refType="w" fact="0.4026"/>
                  <dgm:constr type="ctrY" for="ch" forName="dot3" refType="h" fact="0.8539"/>
                  <dgm:constr type="w" for="ch" forName="dot3" refType="userD"/>
                  <dgm:constr type="h" for="ch" forName="dot3" refType="userD"/>
                  <dgm:constr type="ctrX" for="ch" forName="dot4" refType="w" fact="0.3806"/>
                  <dgm:constr type="ctrY" for="ch" forName="dot4" refType="h" fact="0.8615"/>
                  <dgm:constr type="w" for="ch" forName="dot4" refType="userD"/>
                  <dgm:constr type="h" for="ch" forName="dot4" refType="userD"/>
                  <dgm:constr type="ctrX" for="ch" forName="dot5" refType="w" fact="0.3584"/>
                  <dgm:constr type="ctrY" for="ch" forName="dot5" refType="h" fact="0.8676"/>
                  <dgm:constr type="w" for="ch" forName="dot5" refType="userD"/>
                  <dgm:constr type="h" for="ch" forName="dot5" refType="userD"/>
                  <dgm:constr type="ctrX" for="ch" forName="dot6" refType="w" fact="0.5803"/>
                  <dgm:constr type="ctrY" for="ch" forName="dot6" refType="h" fact="0.7255"/>
                  <dgm:constr type="w" for="ch" forName="dot6" refType="userD"/>
                  <dgm:constr type="h" for="ch" forName="dot6" refType="userD"/>
                  <dgm:constr type="ctrX" for="ch" forName="dot7" refType="w" fact="0.5618"/>
                  <dgm:constr type="ctrY" for="ch" forName="dot7" refType="h" fact="0.7454"/>
                  <dgm:constr type="w" for="ch" forName="dot7" refType="userD"/>
                  <dgm:constr type="h" for="ch" forName="dot7" refType="userD"/>
                  <dgm:constr type="ctrX" for="ch" forName="dot8" refType="w" fact="0.6656"/>
                  <dgm:constr type="ctrY" for="ch" forName="dot8" refType="h" fact="0.6026"/>
                  <dgm:constr type="w" for="ch" forName="dot8" refType="userD"/>
                  <dgm:constr type="h" for="ch" forName="dot8" refType="userD"/>
                  <dgm:constr type="ctrX" for="ch" forName="dot9" refType="w" fact="0.7266"/>
                  <dgm:constr type="ctrY" for="ch" forName="dot9" refType="h" fact="0.4632"/>
                  <dgm:constr type="w" for="ch" forName="dot9" refType="userD"/>
                  <dgm:constr type="h" for="ch" forName="dot9" refType="userD"/>
                  <dgm:constr type="ctrX" for="ch" forName="dot10" refType="w" fact="0.7643"/>
                  <dgm:constr type="ctrY" for="ch" forName="dot10" refType="h" fact="0.3187"/>
                  <dgm:constr type="w" for="ch" forName="dot10" refType="userD"/>
                  <dgm:constr type="h" for="ch" forName="dot10" refType="userD"/>
                  <dgm:constr type="ctrX" for="ch" forName="dot11" refType="w" fact="0.7816"/>
                  <dgm:constr type="ctrY" for="ch" forName="dot11" refType="h" fact="0.1763"/>
                  <dgm:constr type="w" for="ch" forName="dot11" refType="userD"/>
                  <dgm:constr type="h" for="ch" forName="dot11" refType="userD"/>
                  <dgm:constr type="ctrX" for="ch" forName="dotArrow1" refType="w" fact="0.7558"/>
                  <dgm:constr type="ctrY" for="ch" forName="dotArrow1" refType="h" fact="-0.0099"/>
                  <dgm:constr type="w" for="ch" forName="dotArrow1" refType="userD"/>
                  <dgm:constr type="h" for="ch" forName="dotArrow1" refType="userD"/>
                  <dgm:constr type="ctrX" for="ch" forName="dotArrow2" refType="w" fact="0.7725"/>
                  <dgm:constr type="ctrY" for="ch" forName="dotArrow2" refType="h" fact="-0.0239"/>
                  <dgm:constr type="w" for="ch" forName="dotArrow2" refType="userD"/>
                  <dgm:constr type="h" for="ch" forName="dotArrow2" refType="userD"/>
                  <dgm:constr type="ctrX" for="ch" forName="dotArrow3" refType="w" fact="0.7892"/>
                  <dgm:constr type="ctrY" for="ch" forName="dotArrow3" refType="h" fact="-0.0378"/>
                  <dgm:constr type="w" for="ch" forName="dotArrow3" refType="userD"/>
                  <dgm:constr type="h" for="ch" forName="dotArrow3" refType="userD"/>
                  <dgm:constr type="ctrX" for="ch" forName="dotArrow4" refType="w" fact="0.8058"/>
                  <dgm:constr type="ctrY" for="ch" forName="dotArrow4" refType="h" fact="-0.0239"/>
                  <dgm:constr type="w" for="ch" forName="dotArrow4" refType="userD"/>
                  <dgm:constr type="h" for="ch" forName="dotArrow4" refType="userD"/>
                  <dgm:constr type="ctrX" for="ch" forName="dotArrow5" refType="w" fact="0.8225"/>
                  <dgm:constr type="ctrY" for="ch" forName="dotArrow5" refType="h" fact="-0.0099"/>
                  <dgm:constr type="w" for="ch" forName="dotArrow5" refType="userD"/>
                  <dgm:constr type="h" for="ch" forName="dotArrow5" refType="userD"/>
                  <dgm:constr type="ctrX" for="ch" forName="dotArrow6" refType="w" fact="0.7892"/>
                  <dgm:constr type="ctrY" for="ch" forName="dotArrow6" refType="h" fact="-0.0084"/>
                  <dgm:constr type="w" for="ch" forName="dotArrow6" refType="userD"/>
                  <dgm:constr type="h" for="ch" forName="dotArrow6" refType="userD"/>
                  <dgm:constr type="ctrX" for="ch" forName="dotArrow7" refType="w" fact="0.7892"/>
                  <dgm:constr type="ctrY" for="ch" forName="dotArrow7" refType="h" fact="0.0211"/>
                  <dgm:constr type="w" for="ch" forName="dotArrow7" refType="userD"/>
                  <dgm:constr type="h" for="ch" forName="dotArrow7" refType="userD"/>
                  <dgm:constr type="l" for="ch" forName="parTx1" refType="w" fact="0.2915"/>
                  <dgm:constr type="t" for="ch" forName="parTx1" refType="h" fact="0.8845"/>
                  <dgm:constr type="w" for="ch" forName="parTx1" refType="w" fact="0.2396"/>
                  <dgm:constr type="h" for="ch" forName="parTx1" refType="h" fact="0.0704"/>
                  <dgm:constr type="ctrX" for="ch" forName="picture1" refType="w" fact="0.2806"/>
                  <dgm:constr type="ctrY" for="ch" forName="picture1" refType="h" fact="0.8769"/>
                  <dgm:constr type="w" for="ch" forName="picture1" refType="w" fact="0.1111"/>
                  <dgm:constr type="h" for="ch" forName="picture1" refType="h" fact="0.1218"/>
                  <dgm:constr type="l" for="ch" forName="parTx2" refType="w" fact="0.5172"/>
                  <dgm:constr type="t" for="ch" forName="parTx2" refType="h" fact="0.7946"/>
                  <dgm:constr type="w" for="ch" forName="parTx2" refType="w" fact="0.2396"/>
                  <dgm:constr type="h" for="ch" forName="parTx2" refType="h" fact="0.0704"/>
                  <dgm:constr type="ctrX" for="ch" forName="picture2" refType="w" fact="0.5063"/>
                  <dgm:constr type="ctrY" for="ch" forName="picture2" refType="h" fact="0.787"/>
                  <dgm:constr type="w" for="ch" forName="picture2" refType="w" fact="0.1111"/>
                  <dgm:constr type="h" for="ch" forName="picture2" refType="h" fact="0.1218"/>
                  <dgm:constr type="l" for="ch" forName="parTx3" refType="w" fact="0.6285"/>
                  <dgm:constr type="t" for="ch" forName="parTx3" refType="h" fact="0.672"/>
                  <dgm:constr type="w" for="ch" forName="parTx3" refType="w" fact="0.2396"/>
                  <dgm:constr type="h" for="ch" forName="parTx3" refType="h" fact="0.0704"/>
                  <dgm:constr type="ctrX" for="ch" forName="picture3" refType="w" fact="0.6176"/>
                  <dgm:constr type="ctrY" for="ch" forName="picture3" refType="h" fact="0.6644"/>
                  <dgm:constr type="w" for="ch" forName="picture3" refType="w" fact="0.1111"/>
                  <dgm:constr type="h" for="ch" forName="picture3" refType="h" fact="0.1218"/>
                  <dgm:constr type="l" for="ch" forName="parTx4" refType="w" fact="0.6994"/>
                  <dgm:constr type="t" for="ch" forName="parTx4" refType="h" fact="0.5369"/>
                  <dgm:constr type="w" for="ch" forName="parTx4" refType="w" fact="0.2396"/>
                  <dgm:constr type="h" for="ch" forName="parTx4" refType="h" fact="0.0704"/>
                  <dgm:constr type="ctrX" for="ch" forName="picture4" refType="w" fact="0.6885"/>
                  <dgm:constr type="ctrY" for="ch" forName="picture4" refType="h" fact="0.5294"/>
                  <dgm:constr type="w" for="ch" forName="picture4" refType="w" fact="0.1111"/>
                  <dgm:constr type="h" for="ch" forName="picture4" refType="h" fact="0.1218"/>
                  <dgm:constr type="l" for="ch" forName="parTx5" refType="w" fact="0.75"/>
                  <dgm:constr type="t" for="ch" forName="parTx5" refType="h" fact="0.394"/>
                  <dgm:constr type="w" for="ch" forName="parTx5" refType="w" fact="0.2396"/>
                  <dgm:constr type="h" for="ch" forName="parTx5" refType="h" fact="0.0704"/>
                  <dgm:constr type="ctrX" for="ch" forName="picture5" refType="w" fact="0.7391"/>
                  <dgm:constr type="ctrY" for="ch" forName="picture5" refType="h" fact="0.3864"/>
                  <dgm:constr type="w" for="ch" forName="picture5" refType="w" fact="0.1111"/>
                  <dgm:constr type="h" for="ch" forName="picture5" refType="h" fact="0.1218"/>
                  <dgm:constr type="l" for="ch" forName="parTx6" refType="w" fact="0.7788"/>
                  <dgm:constr type="t" for="ch" forName="parTx6" refType="h" fact="0.252"/>
                  <dgm:constr type="w" for="ch" forName="parTx6" refType="w" fact="0.2396"/>
                  <dgm:constr type="h" for="ch" forName="parTx6" refType="h" fact="0.0704"/>
                  <dgm:constr type="ctrX" for="ch" forName="picture6" refType="w" fact="0.7679"/>
                  <dgm:constr type="ctrY" for="ch" forName="picture6" refType="h" fact="0.2444"/>
                  <dgm:constr type="w" for="ch" forName="picture6" refType="w" fact="0.1111"/>
                  <dgm:constr type="h" for="ch" forName="picture6" refType="h" fact="0.1218"/>
                  <dgm:constr type="l" for="ch" forName="parTx7" refType="w" fact="0.7945"/>
                  <dgm:constr type="t" for="ch" forName="parTx7" refType="h" fact="0.1151"/>
                  <dgm:constr type="w" for="ch" forName="parTx7" refType="w" fact="0.2396"/>
                  <dgm:constr type="h" for="ch" forName="parTx7" refType="h" fact="0.0704"/>
                  <dgm:constr type="ctrX" for="ch" forName="picture7" refType="w" fact="0.7836"/>
                  <dgm:constr type="ctrY" for="ch" forName="picture7" refType="h" fact="0.1075"/>
                  <dgm:constr type="w" for="ch" forName="picture7" refType="w" fact="0.1111"/>
                  <dgm:constr type="h" for="ch" forName="picture7" refType="h" fact="0.1218"/>
                </dgm:constrLst>
              </dgm:else>
            </dgm:choose>
          </dgm:if>
          <dgm:else name="Name68">
            <dgm:choose name="Name69">
              <dgm:if name="Name70" axis="des" func="maxDepth" op="gt" val="1">
                <dgm:alg type="composite">
                  <dgm:param type="ar" val="1.25"/>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primFontSz" for="ch" forName="desTx1" op="equ" val="65"/>
                  <dgm:constr type="primFontSz" for="ch" forName="desTx2" refType="primFontSz" refFor="ch" refForName="desTx1" op="equ"/>
                  <dgm:constr type="primFontSz" for="ch" forName="desTx3" refType="primFontSz" refFor="ch" refForName="desTx1" op="equ"/>
                  <dgm:constr type="primFontSz" for="ch" forName="desTx4" refType="primFontSz" refFor="ch" refForName="desTx1" op="equ"/>
                  <dgm:constr type="primFontSz" for="ch" forName="desTx5" refType="primFontSz" refFor="ch" refForName="desTx1" op="equ"/>
                  <dgm:constr type="primFontSz" for="ch" forName="desTx6" refType="primFontSz" refFor="ch" refForName="desTx1" op="equ"/>
                  <dgm:constr type="primFontSz" for="ch" forName="desTx7" refType="primFontSz" refFor="ch" refForName="desTx1" op="equ"/>
                  <dgm:constr type="userD" refType="w" fact="0.0097"/>
                  <dgm:constr type="ctrX" for="ch" forName="dot1" refType="w" fact="0.6091"/>
                  <dgm:constr type="ctrY" for="ch" forName="dot1" refType="h" fact="0.8342"/>
                  <dgm:constr type="w" for="ch" forName="dot1" refType="userD"/>
                  <dgm:constr type="h" for="ch" forName="dot1" refType="userD"/>
                  <dgm:constr type="ctrX" for="ch" forName="dot2" refType="w" fact="0.6279"/>
                  <dgm:constr type="ctrY" for="ch" forName="dot2" refType="h" fact="0.8448"/>
                  <dgm:constr type="w" for="ch" forName="dot2" refType="userD"/>
                  <dgm:constr type="h" for="ch" forName="dot2" refType="userD"/>
                  <dgm:constr type="ctrX" for="ch" forName="dot3" refType="w" fact="0.647"/>
                  <dgm:constr type="ctrY" for="ch" forName="dot3" refType="h" fact="0.8539"/>
                  <dgm:constr type="w" for="ch" forName="dot3" refType="userD"/>
                  <dgm:constr type="h" for="ch" forName="dot3" refType="userD"/>
                  <dgm:constr type="ctrX" for="ch" forName="dot4" refType="w" fact="0.6663"/>
                  <dgm:constr type="ctrY" for="ch" forName="dot4" refType="h" fact="0.8615"/>
                  <dgm:constr type="w" for="ch" forName="dot4" refType="userD"/>
                  <dgm:constr type="h" for="ch" forName="dot4" refType="userD"/>
                  <dgm:constr type="ctrX" for="ch" forName="dot5" refType="w" fact="0.6858"/>
                  <dgm:constr type="ctrY" for="ch" forName="dot5" refType="h" fact="0.8676"/>
                  <dgm:constr type="w" for="ch" forName="dot5" refType="userD"/>
                  <dgm:constr type="h" for="ch" forName="dot5" refType="userD"/>
                  <dgm:constr type="ctrX" for="ch" forName="dot6" refType="w" fact="0.4912"/>
                  <dgm:constr type="ctrY" for="ch" forName="dot6" refType="h" fact="0.7255"/>
                  <dgm:constr type="w" for="ch" forName="dot6" refType="userD"/>
                  <dgm:constr type="h" for="ch" forName="dot6" refType="userD"/>
                  <dgm:constr type="ctrX" for="ch" forName="dot7" refType="w" fact="0.5074"/>
                  <dgm:constr type="ctrY" for="ch" forName="dot7" refType="h" fact="0.7454"/>
                  <dgm:constr type="w" for="ch" forName="dot7" refType="userD"/>
                  <dgm:constr type="h" for="ch" forName="dot7" refType="userD"/>
                  <dgm:constr type="ctrX" for="ch" forName="dot8" refType="w" fact="0.4164"/>
                  <dgm:constr type="ctrY" for="ch" forName="dot8" refType="h" fact="0.6026"/>
                  <dgm:constr type="w" for="ch" forName="dot8" refType="userD"/>
                  <dgm:constr type="h" for="ch" forName="dot8" refType="userD"/>
                  <dgm:constr type="ctrX" for="ch" forName="dot9" refType="w" fact="0.3629"/>
                  <dgm:constr type="ctrY" for="ch" forName="dot9" refType="h" fact="0.4632"/>
                  <dgm:constr type="w" for="ch" forName="dot9" refType="userD"/>
                  <dgm:constr type="h" for="ch" forName="dot9" refType="userD"/>
                  <dgm:constr type="ctrX" for="ch" forName="dot10" refType="w" fact="0.3299"/>
                  <dgm:constr type="ctrY" for="ch" forName="dot10" refType="h" fact="0.3187"/>
                  <dgm:constr type="w" for="ch" forName="dot10" refType="userD"/>
                  <dgm:constr type="h" for="ch" forName="dot10" refType="userD"/>
                  <dgm:constr type="ctrX" for="ch" forName="dot11" refType="w" fact="0.3147"/>
                  <dgm:constr type="ctrY" for="ch" forName="dot11" refType="h" fact="0.1763"/>
                  <dgm:constr type="w" for="ch" forName="dot11" refType="userD"/>
                  <dgm:constr type="h" for="ch" forName="dot11" refType="userD"/>
                  <dgm:constr type="ctrX" for="ch" forName="dotArrow1" refType="w" fact="0.3373"/>
                  <dgm:constr type="ctrY" for="ch" forName="dotArrow1" refType="h" fact="-0.0099"/>
                  <dgm:constr type="w" for="ch" forName="dotArrow1" refType="userD"/>
                  <dgm:constr type="h" for="ch" forName="dotArrow1" refType="userD"/>
                  <dgm:constr type="ctrX" for="ch" forName="dotArrow2" refType="w" fact="0.3227"/>
                  <dgm:constr type="ctrY" for="ch" forName="dotArrow2" refType="h" fact="-0.0239"/>
                  <dgm:constr type="w" for="ch" forName="dotArrow2" refType="userD"/>
                  <dgm:constr type="h" for="ch" forName="dotArrow2" refType="userD"/>
                  <dgm:constr type="ctrX" for="ch" forName="dotArrow3" refType="w" fact="0.3081"/>
                  <dgm:constr type="ctrY" for="ch" forName="dotArrow3" refType="h" fact="-0.0378"/>
                  <dgm:constr type="w" for="ch" forName="dotArrow3" refType="userD"/>
                  <dgm:constr type="h" for="ch" forName="dotArrow3" refType="userD"/>
                  <dgm:constr type="ctrX" for="ch" forName="dotArrow4" refType="w" fact="0.2935"/>
                  <dgm:constr type="ctrY" for="ch" forName="dotArrow4" refType="h" fact="-0.0239"/>
                  <dgm:constr type="w" for="ch" forName="dotArrow4" refType="userD"/>
                  <dgm:constr type="h" for="ch" forName="dotArrow4" refType="userD"/>
                  <dgm:constr type="ctrX" for="ch" forName="dotArrow5" refType="w" fact="0.2788"/>
                  <dgm:constr type="ctrY" for="ch" forName="dotArrow5" refType="h" fact="-0.0099"/>
                  <dgm:constr type="w" for="ch" forName="dotArrow5" refType="userD"/>
                  <dgm:constr type="h" for="ch" forName="dotArrow5" refType="userD"/>
                  <dgm:constr type="ctrX" for="ch" forName="dotArrow6" refType="w" fact="0.3081"/>
                  <dgm:constr type="ctrY" for="ch" forName="dotArrow6" refType="h" fact="-0.0084"/>
                  <dgm:constr type="w" for="ch" forName="dotArrow6" refType="userD"/>
                  <dgm:constr type="h" for="ch" forName="dotArrow6" refType="userD"/>
                  <dgm:constr type="ctrX" for="ch" forName="dotArrow7" refType="w" fact="0.3081"/>
                  <dgm:constr type="ctrY" for="ch" forName="dotArrow7" refType="h" fact="0.0211"/>
                  <dgm:constr type="w" for="ch" forName="dotArrow7" refType="userD"/>
                  <dgm:constr type="h" for="ch" forName="dotArrow7" refType="userD"/>
                  <dgm:constr type="r" for="ch" forName="parTx1" refType="w" fact="0.7444"/>
                  <dgm:constr type="t" for="ch" forName="parTx1" refType="h" fact="0.8856"/>
                  <dgm:constr type="w" for="ch" forName="parTx1" refType="w" fact="0.2101"/>
                  <dgm:constr type="h" for="ch" forName="parTx1" refType="h" fact="0.0704"/>
                  <dgm:constr type="ctrX" for="ch" forName="picture1" refType="w" fact="0.754"/>
                  <dgm:constr type="ctrY" for="ch" forName="picture1" refType="h" fact="0.8769"/>
                  <dgm:constr type="w" for="ch" forName="picture1" refType="w" fact="0.0974"/>
                  <dgm:constr type="h" for="ch" forName="picture1" refType="h" fact="0.1218"/>
                  <dgm:constr type="r" for="ch" forName="desTx1" refType="l" refFor="ch" refForName="parTx1"/>
                  <dgm:constr type="l" for="ch" forName="desTx1"/>
                  <dgm:constr type="t" for="ch" forName="desTx1" refType="t" refFor="ch" refForName="parTx1"/>
                  <dgm:constr type="h" for="ch" forName="desTx1" refType="h" refFor="ch" refForName="parTx1"/>
                  <dgm:constr type="r" for="ch" forName="parTx2" refType="w" fact="0.5465"/>
                  <dgm:constr type="t" for="ch" forName="parTx2" refType="h" fact="0.7956"/>
                  <dgm:constr type="w" for="ch" forName="parTx2" refType="w" fact="0.2101"/>
                  <dgm:constr type="h" for="ch" forName="parTx2" refType="h" fact="0.0704"/>
                  <dgm:constr type="ctrX" for="ch" forName="picture2" refType="w" fact="0.5561"/>
                  <dgm:constr type="ctrY" for="ch" forName="picture2" refType="h" fact="0.787"/>
                  <dgm:constr type="w" for="ch" forName="picture2" refType="w" fact="0.0974"/>
                  <dgm:constr type="h" for="ch" forName="picture2" refType="h" fact="0.1218"/>
                  <dgm:constr type="r" for="ch" forName="desTx2" refType="l" refFor="ch" refForName="parTx2"/>
                  <dgm:constr type="l" for="ch" forName="desTx2"/>
                  <dgm:constr type="t" for="ch" forName="desTx2" refType="t" refFor="ch" refForName="parTx2"/>
                  <dgm:constr type="h" for="ch" forName="desTx2" refType="h" refFor="ch" refForName="parTx2"/>
                  <dgm:constr type="r" for="ch" forName="parTx3" refType="w" fact="0.4489"/>
                  <dgm:constr type="t" for="ch" forName="parTx3" refType="h" fact="0.673"/>
                  <dgm:constr type="w" for="ch" forName="parTx3" refType="w" fact="0.2101"/>
                  <dgm:constr type="h" for="ch" forName="parTx3" refType="h" fact="0.0704"/>
                  <dgm:constr type="ctrX" for="ch" forName="picture3" refType="w" fact="0.4585"/>
                  <dgm:constr type="ctrY" for="ch" forName="picture3" refType="h" fact="0.6644"/>
                  <dgm:constr type="w" for="ch" forName="picture3" refType="w" fact="0.0974"/>
                  <dgm:constr type="h" for="ch" forName="picture3" refType="h" fact="0.1218"/>
                  <dgm:constr type="r" for="ch" forName="desTx3" refType="l" refFor="ch" refForName="parTx3"/>
                  <dgm:constr type="l" for="ch" forName="desTx3"/>
                  <dgm:constr type="t" for="ch" forName="desTx3" refType="t" refFor="ch" refForName="parTx3"/>
                  <dgm:constr type="h" for="ch" forName="desTx3" refType="h" refFor="ch" refForName="parTx3"/>
                  <dgm:constr type="r" for="ch" forName="parTx4" refType="w" fact="0.3868"/>
                  <dgm:constr type="t" for="ch" forName="parTx4" refType="h" fact="0.538"/>
                  <dgm:constr type="w" for="ch" forName="parTx4" refType="w" fact="0.2101"/>
                  <dgm:constr type="h" for="ch" forName="parTx4" refType="h" fact="0.0704"/>
                  <dgm:constr type="ctrX" for="ch" forName="picture4" refType="w" fact="0.3963"/>
                  <dgm:constr type="ctrY" for="ch" forName="picture4" refType="h" fact="0.5294"/>
                  <dgm:constr type="w" for="ch" forName="picture4" refType="w" fact="0.0974"/>
                  <dgm:constr type="h" for="ch" forName="picture4" refType="h" fact="0.1218"/>
                  <dgm:constr type="r" for="ch" forName="desTx4" refType="l" refFor="ch" refForName="parTx4"/>
                  <dgm:constr type="l" for="ch" forName="desTx4"/>
                  <dgm:constr type="t" for="ch" forName="desTx4" refType="t" refFor="ch" refForName="parTx4"/>
                  <dgm:constr type="h" for="ch" forName="desTx4" refType="h" refFor="ch" refForName="parTx4"/>
                  <dgm:constr type="r" for="ch" forName="parTx5" refType="w" fact="0.3424"/>
                  <dgm:constr type="t" for="ch" forName="parTx5" refType="h" fact="0.3951"/>
                  <dgm:constr type="w" for="ch" forName="parTx5" refType="w" fact="0.2101"/>
                  <dgm:constr type="h" for="ch" forName="parTx5" refType="h" fact="0.0704"/>
                  <dgm:constr type="ctrX" for="ch" forName="picture5" refType="w" fact="0.352"/>
                  <dgm:constr type="ctrY" for="ch" forName="picture5" refType="h" fact="0.3864"/>
                  <dgm:constr type="w" for="ch" forName="picture5" refType="w" fact="0.0974"/>
                  <dgm:constr type="h" for="ch" forName="picture5" refType="h" fact="0.1218"/>
                  <dgm:constr type="r" for="ch" forName="desTx5" refType="l" refFor="ch" refForName="parTx5"/>
                  <dgm:constr type="l" for="ch" forName="desTx5"/>
                  <dgm:constr type="t" for="ch" forName="desTx5" refType="t" refFor="ch" refForName="parTx5"/>
                  <dgm:constr type="h" for="ch" forName="desTx5" refType="h" refFor="ch" refForName="parTx5"/>
                  <dgm:constr type="r" for="ch" forName="parTx6" refType="w" fact="0.3172"/>
                  <dgm:constr type="t" for="ch" forName="parTx6" refType="h" fact="0.2531"/>
                  <dgm:constr type="w" for="ch" forName="parTx6" refType="w" fact="0.2101"/>
                  <dgm:constr type="h" for="ch" forName="parTx6" refType="h" fact="0.0704"/>
                  <dgm:constr type="ctrX" for="ch" forName="picture6" refType="w" fact="0.3267"/>
                  <dgm:constr type="ctrY" for="ch" forName="picture6" refType="h" fact="0.2444"/>
                  <dgm:constr type="w" for="ch" forName="picture6" refType="w" fact="0.0974"/>
                  <dgm:constr type="h" for="ch" forName="picture6" refType="h" fact="0.1218"/>
                  <dgm:constr type="r" for="ch" forName="desTx6" refType="l" refFor="ch" refForName="parTx6"/>
                  <dgm:constr type="l" for="ch" forName="desTx6"/>
                  <dgm:constr type="t" for="ch" forName="desTx6" refType="t" refFor="ch" refForName="parTx6"/>
                  <dgm:constr type="h" for="ch" forName="desTx6" refType="h" refFor="ch" refForName="parTx6"/>
                  <dgm:constr type="r" for="ch" forName="parTx7" refType="w" fact="0.3034"/>
                  <dgm:constr type="t" for="ch" forName="parTx7" refType="h" fact="0.1162"/>
                  <dgm:constr type="w" for="ch" forName="parTx7" refType="w" fact="0.2101"/>
                  <dgm:constr type="h" for="ch" forName="parTx7" refType="h" fact="0.0704"/>
                  <dgm:constr type="ctrX" for="ch" forName="picture7" refType="w" fact="0.3129"/>
                  <dgm:constr type="ctrY" for="ch" forName="picture7" refType="h" fact="0.1075"/>
                  <dgm:constr type="w" for="ch" forName="picture7" refType="w" fact="0.0974"/>
                  <dgm:constr type="h" for="ch" forName="picture7" refType="h" fact="0.1218"/>
                  <dgm:constr type="r" for="ch" forName="desTx7" refType="l" refFor="ch" refForName="parTx7"/>
                  <dgm:constr type="l" for="ch" forName="desTx7"/>
                  <dgm:constr type="t" for="ch" forName="desTx7" refType="t" refFor="ch" refForName="parTx7"/>
                  <dgm:constr type="h" for="ch" forName="desTx7" refType="h" refFor="ch" refForName="parTx7"/>
                </dgm:constrLst>
              </dgm:if>
              <dgm:else name="Name71">
                <dgm:alg type="composite">
                  <dgm:param type="ar" val="1.096"/>
                </dgm:alg>
                <dgm:constrLst>
                  <dgm:constr type="primFontSz" for="ch" forName="parTx1" op="equ" val="65"/>
                  <dgm:constr type="primFontSz" for="ch" forName="parTx2" refType="primFontSz" refFor="ch" refForName="parTx1" op="equ"/>
                  <dgm:constr type="primFontSz" for="ch" forName="parTx3" refType="primFontSz" refFor="ch" refForName="parTx1" op="equ"/>
                  <dgm:constr type="primFontSz" for="ch" forName="parTx4" refType="primFontSz" refFor="ch" refForName="parTx1" op="equ"/>
                  <dgm:constr type="primFontSz" for="ch" forName="parTx5" refType="primFontSz" refFor="ch" refForName="parTx1" op="equ"/>
                  <dgm:constr type="primFontSz" for="ch" forName="parTx6" refType="primFontSz" refFor="ch" refForName="parTx1" op="equ"/>
                  <dgm:constr type="primFontSz" for="ch" forName="parTx7" refType="primFontSz" refFor="ch" refForName="parTx1" op="equ"/>
                  <dgm:constr type="userD" refType="w" fact="0.0111"/>
                  <dgm:constr type="ctrX" for="ch" forName="dot1" refType="w" fact="0.5541"/>
                  <dgm:constr type="ctrY" for="ch" forName="dot1" refType="h" fact="0.8342"/>
                  <dgm:constr type="w" for="ch" forName="dot1" refType="userD"/>
                  <dgm:constr type="h" for="ch" forName="dot1" refType="userD"/>
                  <dgm:constr type="ctrX" for="ch" forName="dot2" refType="w" fact="0.5756"/>
                  <dgm:constr type="ctrY" for="ch" forName="dot2" refType="h" fact="0.8448"/>
                  <dgm:constr type="w" for="ch" forName="dot2" refType="userD"/>
                  <dgm:constr type="h" for="ch" forName="dot2" refType="userD"/>
                  <dgm:constr type="ctrX" for="ch" forName="dot3" refType="w" fact="0.5974"/>
                  <dgm:constr type="ctrY" for="ch" forName="dot3" refType="h" fact="0.8539"/>
                  <dgm:constr type="w" for="ch" forName="dot3" refType="userD"/>
                  <dgm:constr type="h" for="ch" forName="dot3" refType="userD"/>
                  <dgm:constr type="ctrX" for="ch" forName="dot4" refType="w" fact="0.6194"/>
                  <dgm:constr type="ctrY" for="ch" forName="dot4" refType="h" fact="0.8615"/>
                  <dgm:constr type="w" for="ch" forName="dot4" refType="userD"/>
                  <dgm:constr type="h" for="ch" forName="dot4" refType="userD"/>
                  <dgm:constr type="ctrX" for="ch" forName="dot5" refType="w" fact="0.6416"/>
                  <dgm:constr type="ctrY" for="ch" forName="dot5" refType="h" fact="0.8676"/>
                  <dgm:constr type="w" for="ch" forName="dot5" refType="userD"/>
                  <dgm:constr type="h" for="ch" forName="dot5" refType="userD"/>
                  <dgm:constr type="ctrX" for="ch" forName="dot6" refType="w" fact="0.4197"/>
                  <dgm:constr type="ctrY" for="ch" forName="dot6" refType="h" fact="0.7255"/>
                  <dgm:constr type="w" for="ch" forName="dot6" refType="userD"/>
                  <dgm:constr type="h" for="ch" forName="dot6" refType="userD"/>
                  <dgm:constr type="ctrX" for="ch" forName="dot7" refType="w" fact="0.4382"/>
                  <dgm:constr type="ctrY" for="ch" forName="dot7" refType="h" fact="0.7454"/>
                  <dgm:constr type="w" for="ch" forName="dot7" refType="userD"/>
                  <dgm:constr type="h" for="ch" forName="dot7" refType="userD"/>
                  <dgm:constr type="ctrX" for="ch" forName="dot8" refType="w" fact="0.3344"/>
                  <dgm:constr type="ctrY" for="ch" forName="dot8" refType="h" fact="0.6026"/>
                  <dgm:constr type="w" for="ch" forName="dot8" refType="userD"/>
                  <dgm:constr type="h" for="ch" forName="dot8" refType="userD"/>
                  <dgm:constr type="ctrX" for="ch" forName="dot9" refType="w" fact="0.2734"/>
                  <dgm:constr type="ctrY" for="ch" forName="dot9" refType="h" fact="0.4632"/>
                  <dgm:constr type="w" for="ch" forName="dot9" refType="userD"/>
                  <dgm:constr type="h" for="ch" forName="dot9" refType="userD"/>
                  <dgm:constr type="ctrX" for="ch" forName="dot10" refType="w" fact="0.2357"/>
                  <dgm:constr type="ctrY" for="ch" forName="dot10" refType="h" fact="0.3187"/>
                  <dgm:constr type="w" for="ch" forName="dot10" refType="userD"/>
                  <dgm:constr type="h" for="ch" forName="dot10" refType="userD"/>
                  <dgm:constr type="ctrX" for="ch" forName="dot11" refType="w" fact="0.2184"/>
                  <dgm:constr type="ctrY" for="ch" forName="dot11" refType="h" fact="0.1763"/>
                  <dgm:constr type="w" for="ch" forName="dot11" refType="userD"/>
                  <dgm:constr type="h" for="ch" forName="dot11" refType="userD"/>
                  <dgm:constr type="ctrX" for="ch" forName="dotArrow1" refType="w" fact="0.2442"/>
                  <dgm:constr type="ctrY" for="ch" forName="dotArrow1" refType="h" fact="-0.0099"/>
                  <dgm:constr type="w" for="ch" forName="dotArrow1" refType="userD"/>
                  <dgm:constr type="h" for="ch" forName="dotArrow1" refType="userD"/>
                  <dgm:constr type="ctrX" for="ch" forName="dotArrow2" refType="w" fact="0.2275"/>
                  <dgm:constr type="ctrY" for="ch" forName="dotArrow2" refType="h" fact="-0.0239"/>
                  <dgm:constr type="w" for="ch" forName="dotArrow2" refType="userD"/>
                  <dgm:constr type="h" for="ch" forName="dotArrow2" refType="userD"/>
                  <dgm:constr type="ctrX" for="ch" forName="dotArrow3" refType="w" fact="0.2108"/>
                  <dgm:constr type="ctrY" for="ch" forName="dotArrow3" refType="h" fact="-0.0378"/>
                  <dgm:constr type="w" for="ch" forName="dotArrow3" refType="userD"/>
                  <dgm:constr type="h" for="ch" forName="dotArrow3" refType="userD"/>
                  <dgm:constr type="ctrX" for="ch" forName="dotArrow4" refType="w" fact="0.1942"/>
                  <dgm:constr type="ctrY" for="ch" forName="dotArrow4" refType="h" fact="-0.0239"/>
                  <dgm:constr type="w" for="ch" forName="dotArrow4" refType="userD"/>
                  <dgm:constr type="h" for="ch" forName="dotArrow4" refType="userD"/>
                  <dgm:constr type="ctrX" for="ch" forName="dotArrow5" refType="w" fact="0.1775"/>
                  <dgm:constr type="ctrY" for="ch" forName="dotArrow5" refType="h" fact="-0.0099"/>
                  <dgm:constr type="w" for="ch" forName="dotArrow5" refType="userD"/>
                  <dgm:constr type="h" for="ch" forName="dotArrow5" refType="userD"/>
                  <dgm:constr type="ctrX" for="ch" forName="dotArrow6" refType="w" fact="0.2108"/>
                  <dgm:constr type="ctrY" for="ch" forName="dotArrow6" refType="h" fact="-0.0084"/>
                  <dgm:constr type="w" for="ch" forName="dotArrow6" refType="userD"/>
                  <dgm:constr type="h" for="ch" forName="dotArrow6" refType="userD"/>
                  <dgm:constr type="ctrX" for="ch" forName="dotArrow7" refType="w" fact="0.2108"/>
                  <dgm:constr type="ctrY" for="ch" forName="dotArrow7" refType="h" fact="0.0211"/>
                  <dgm:constr type="w" for="ch" forName="dotArrow7" refType="userD"/>
                  <dgm:constr type="h" for="ch" forName="dotArrow7" refType="userD"/>
                  <dgm:constr type="r" for="ch" forName="parTx1" refType="w" fact="0.7085"/>
                  <dgm:constr type="t" for="ch" forName="parTx1" refType="h" fact="0.8845"/>
                  <dgm:constr type="w" for="ch" forName="parTx1" refType="w" fact="0.2396"/>
                  <dgm:constr type="h" for="ch" forName="parTx1" refType="h" fact="0.0704"/>
                  <dgm:constr type="ctrX" for="ch" forName="picture1" refType="w" fact="0.7194"/>
                  <dgm:constr type="ctrY" for="ch" forName="picture1" refType="h" fact="0.8769"/>
                  <dgm:constr type="w" for="ch" forName="picture1" refType="w" fact="0.1111"/>
                  <dgm:constr type="h" for="ch" forName="picture1" refType="h" fact="0.1218"/>
                  <dgm:constr type="r" for="ch" forName="parTx2" refType="w" fact="0.4828"/>
                  <dgm:constr type="t" for="ch" forName="parTx2" refType="h" fact="0.7946"/>
                  <dgm:constr type="w" for="ch" forName="parTx2" refType="w" fact="0.2396"/>
                  <dgm:constr type="h" for="ch" forName="parTx2" refType="h" fact="0.0704"/>
                  <dgm:constr type="ctrX" for="ch" forName="picture2" refType="w" fact="0.4937"/>
                  <dgm:constr type="ctrY" for="ch" forName="picture2" refType="h" fact="0.787"/>
                  <dgm:constr type="w" for="ch" forName="picture2" refType="w" fact="0.1111"/>
                  <dgm:constr type="h" for="ch" forName="picture2" refType="h" fact="0.1218"/>
                  <dgm:constr type="r" for="ch" forName="parTx3" refType="w" fact="0.3715"/>
                  <dgm:constr type="t" for="ch" forName="parTx3" refType="h" fact="0.672"/>
                  <dgm:constr type="w" for="ch" forName="parTx3" refType="w" fact="0.2396"/>
                  <dgm:constr type="h" for="ch" forName="parTx3" refType="h" fact="0.0704"/>
                  <dgm:constr type="ctrX" for="ch" forName="picture3" refType="w" fact="0.3824"/>
                  <dgm:constr type="ctrY" for="ch" forName="picture3" refType="h" fact="0.6644"/>
                  <dgm:constr type="w" for="ch" forName="picture3" refType="w" fact="0.1111"/>
                  <dgm:constr type="h" for="ch" forName="picture3" refType="h" fact="0.1218"/>
                  <dgm:constr type="r" for="ch" forName="parTx4" refType="w" fact="0.3006"/>
                  <dgm:constr type="t" for="ch" forName="parTx4" refType="h" fact="0.5369"/>
                  <dgm:constr type="w" for="ch" forName="parTx4" refType="w" fact="0.2396"/>
                  <dgm:constr type="h" for="ch" forName="parTx4" refType="h" fact="0.0704"/>
                  <dgm:constr type="ctrX" for="ch" forName="picture4" refType="w" fact="0.3115"/>
                  <dgm:constr type="ctrY" for="ch" forName="picture4" refType="h" fact="0.5294"/>
                  <dgm:constr type="w" for="ch" forName="picture4" refType="w" fact="0.1111"/>
                  <dgm:constr type="h" for="ch" forName="picture4" refType="h" fact="0.1218"/>
                  <dgm:constr type="r" for="ch" forName="parTx5" refType="w" fact="0.25"/>
                  <dgm:constr type="t" for="ch" forName="parTx5" refType="h" fact="0.394"/>
                  <dgm:constr type="w" for="ch" forName="parTx5" refType="w" fact="0.2396"/>
                  <dgm:constr type="h" for="ch" forName="parTx5" refType="h" fact="0.0704"/>
                  <dgm:constr type="ctrX" for="ch" forName="picture5" refType="w" fact="0.2609"/>
                  <dgm:constr type="ctrY" for="ch" forName="picture5" refType="h" fact="0.3864"/>
                  <dgm:constr type="w" for="ch" forName="picture5" refType="w" fact="0.1111"/>
                  <dgm:constr type="h" for="ch" forName="picture5" refType="h" fact="0.1218"/>
                  <dgm:constr type="r" for="ch" forName="parTx6" refType="w" fact="0.2212"/>
                  <dgm:constr type="t" for="ch" forName="parTx6" refType="h" fact="0.252"/>
                  <dgm:constr type="w" for="ch" forName="parTx6" refType="w" fact="0.2396"/>
                  <dgm:constr type="h" for="ch" forName="parTx6" refType="h" fact="0.0704"/>
                  <dgm:constr type="ctrX" for="ch" forName="picture6" refType="w" fact="0.2321"/>
                  <dgm:constr type="ctrY" for="ch" forName="picture6" refType="h" fact="0.2444"/>
                  <dgm:constr type="w" for="ch" forName="picture6" refType="w" fact="0.1111"/>
                  <dgm:constr type="h" for="ch" forName="picture6" refType="h" fact="0.1218"/>
                  <dgm:constr type="r" for="ch" forName="parTx7" refType="w" fact="0.2055"/>
                  <dgm:constr type="t" for="ch" forName="parTx7" refType="h" fact="0.1151"/>
                  <dgm:constr type="w" for="ch" forName="parTx7" refType="w" fact="0.2396"/>
                  <dgm:constr type="h" for="ch" forName="parTx7" refType="h" fact="0.0704"/>
                  <dgm:constr type="ctrX" for="ch" forName="picture7" refType="w" fact="0.2164"/>
                  <dgm:constr type="ctrY" for="ch" forName="picture7" refType="h" fact="0.1075"/>
                  <dgm:constr type="w" for="ch" forName="picture7" refType="w" fact="0.1111"/>
                  <dgm:constr type="h" for="ch" forName="picture7" refType="h" fact="0.1218"/>
                </dgm:constrLst>
              </dgm:else>
            </dgm:choose>
          </dgm:else>
        </dgm:choose>
      </dgm:else>
    </dgm:choose>
    <dgm:forEach name="wrapper" axis="self" ptType="parTrans">
      <dgm:forEach name="wrapper2" axis="self" ptType="sibTrans" st="2">
        <dgm:forEach name="imageRepeat" axis="self">
          <dgm:layoutNode name="imageRepeatNode" styleLbl="fgImgPlace1">
            <dgm:alg type="sp"/>
            <dgm:shape xmlns:r="http://schemas.openxmlformats.org/officeDocument/2006/relationships" type="ellipse" r:blip="" blipPhldr="1">
              <dgm:adjLst/>
            </dgm:shape>
            <dgm:presOf axis="self"/>
          </dgm:layoutNode>
        </dgm:forEach>
      </dgm:forEach>
    </dgm:forEach>
    <dgm:choose name="Name72">
      <dgm:if name="Name73" axis="ch" ptType="node" func="cnt" op="gte" val="2">
        <dgm:layoutNode name="dot1" styleLbl="alignNode1">
          <dgm:alg type="sp"/>
          <dgm:shape xmlns:r="http://schemas.openxmlformats.org/officeDocument/2006/relationships" type="ellipse" r:blip="">
            <dgm:adjLst/>
          </dgm:shape>
          <dgm:presOf/>
        </dgm:layoutNode>
        <dgm:layoutNode name="dot2" styleLbl="alignNode1">
          <dgm:alg type="sp"/>
          <dgm:shape xmlns:r="http://schemas.openxmlformats.org/officeDocument/2006/relationships" type="ellipse" r:blip="">
            <dgm:adjLst/>
          </dgm:shape>
          <dgm:presOf/>
        </dgm:layoutNode>
        <dgm:layoutNode name="dot3" styleLbl="alignNode1">
          <dgm:alg type="sp"/>
          <dgm:shape xmlns:r="http://schemas.openxmlformats.org/officeDocument/2006/relationships" type="ellipse" r:blip="">
            <dgm:adjLst/>
          </dgm:shape>
          <dgm:presOf/>
        </dgm:layoutNode>
      </dgm:if>
      <dgm:else name="Name74"/>
    </dgm:choose>
    <dgm:choose name="Name75">
      <dgm:if name="Name76" axis="ch" ptType="node" func="cnt" op="gte" val="3">
        <dgm:layoutNode name="dot4" styleLbl="alignNode1">
          <dgm:alg type="sp"/>
          <dgm:shape xmlns:r="http://schemas.openxmlformats.org/officeDocument/2006/relationships" type="ellipse" r:blip="">
            <dgm:adjLst/>
          </dgm:shape>
          <dgm:presOf/>
        </dgm:layoutNode>
        <dgm:layoutNode name="dot5" styleLbl="alignNode1">
          <dgm:alg type="sp"/>
          <dgm:shape xmlns:r="http://schemas.openxmlformats.org/officeDocument/2006/relationships" type="ellipse" r:blip="">
            <dgm:adjLst/>
          </dgm:shape>
          <dgm:presOf/>
        </dgm:layoutNode>
      </dgm:if>
      <dgm:else name="Name77"/>
    </dgm:choose>
    <dgm:choose name="Name78">
      <dgm:if name="Name79" axis="ch" ptType="node" func="cnt" op="gte" val="4">
        <dgm:layoutNode name="dot6" styleLbl="alignNode1">
          <dgm:alg type="sp"/>
          <dgm:shape xmlns:r="http://schemas.openxmlformats.org/officeDocument/2006/relationships" type="ellipse" r:blip="">
            <dgm:adjLst/>
          </dgm:shape>
          <dgm:presOf/>
        </dgm:layoutNode>
      </dgm:if>
      <dgm:else name="Name80"/>
    </dgm:choose>
    <dgm:choose name="Name81">
      <dgm:if name="Name82" axis="ch" ptType="node" func="cnt" op="gte" val="5">
        <dgm:layoutNode name="dot7" styleLbl="alignNode1">
          <dgm:alg type="sp"/>
          <dgm:shape xmlns:r="http://schemas.openxmlformats.org/officeDocument/2006/relationships" type="ellipse" r:blip="">
            <dgm:adjLst/>
          </dgm:shape>
          <dgm:presOf/>
        </dgm:layoutNode>
        <dgm:layoutNode name="dot8" styleLbl="alignNode1">
          <dgm:alg type="sp"/>
          <dgm:shape xmlns:r="http://schemas.openxmlformats.org/officeDocument/2006/relationships" type="ellipse" r:blip="">
            <dgm:adjLst/>
          </dgm:shape>
          <dgm:presOf/>
        </dgm:layoutNode>
      </dgm:if>
      <dgm:else name="Name83"/>
    </dgm:choose>
    <dgm:choose name="Name84">
      <dgm:if name="Name85" axis="ch" ptType="node" func="cnt" op="gte" val="6">
        <dgm:layoutNode name="dot9" styleLbl="alignNode1">
          <dgm:alg type="sp"/>
          <dgm:shape xmlns:r="http://schemas.openxmlformats.org/officeDocument/2006/relationships" type="ellipse" r:blip="">
            <dgm:adjLst/>
          </dgm:shape>
          <dgm:presOf/>
        </dgm:layoutNode>
        <dgm:layoutNode name="dot10" styleLbl="alignNode1">
          <dgm:alg type="sp"/>
          <dgm:shape xmlns:r="http://schemas.openxmlformats.org/officeDocument/2006/relationships" type="ellipse" r:blip="">
            <dgm:adjLst/>
          </dgm:shape>
          <dgm:presOf/>
        </dgm:layoutNode>
      </dgm:if>
      <dgm:else name="Name86"/>
    </dgm:choose>
    <dgm:choose name="Name87">
      <dgm:if name="Name88" axis="ch" ptType="node" func="cnt" op="gte" val="7">
        <dgm:layoutNode name="dot11" styleLbl="alignNode1">
          <dgm:alg type="sp"/>
          <dgm:shape xmlns:r="http://schemas.openxmlformats.org/officeDocument/2006/relationships" type="ellipse" r:blip="">
            <dgm:adjLst/>
          </dgm:shape>
          <dgm:presOf/>
        </dgm:layoutNode>
      </dgm:if>
      <dgm:else name="Name89"/>
    </dgm:choose>
    <dgm:choose name="Name90">
      <dgm:if name="Name91" axis="ch" ptType="node" func="cnt" op="gte" val="2">
        <dgm:layoutNode name="dotArrow1" styleLbl="alignNode1">
          <dgm:alg type="sp"/>
          <dgm:shape xmlns:r="http://schemas.openxmlformats.org/officeDocument/2006/relationships" type="ellipse" r:blip="">
            <dgm:adjLst/>
          </dgm:shape>
          <dgm:presOf/>
        </dgm:layoutNode>
        <dgm:layoutNode name="dotArrow2" styleLbl="alignNode1">
          <dgm:alg type="sp"/>
          <dgm:shape xmlns:r="http://schemas.openxmlformats.org/officeDocument/2006/relationships" type="ellipse" r:blip="">
            <dgm:adjLst/>
          </dgm:shape>
          <dgm:presOf/>
        </dgm:layoutNode>
        <dgm:layoutNode name="dotArrow3" styleLbl="alignNode1">
          <dgm:alg type="sp"/>
          <dgm:shape xmlns:r="http://schemas.openxmlformats.org/officeDocument/2006/relationships" type="ellipse" r:blip="">
            <dgm:adjLst/>
          </dgm:shape>
          <dgm:presOf/>
        </dgm:layoutNode>
        <dgm:layoutNode name="dotArrow4" styleLbl="alignNode1">
          <dgm:alg type="sp"/>
          <dgm:shape xmlns:r="http://schemas.openxmlformats.org/officeDocument/2006/relationships" type="ellipse" r:blip="">
            <dgm:adjLst/>
          </dgm:shape>
          <dgm:presOf/>
        </dgm:layoutNode>
        <dgm:layoutNode name="dotArrow5" styleLbl="alignNode1">
          <dgm:alg type="sp"/>
          <dgm:shape xmlns:r="http://schemas.openxmlformats.org/officeDocument/2006/relationships" type="ellipse" r:blip="">
            <dgm:adjLst/>
          </dgm:shape>
          <dgm:presOf/>
        </dgm:layoutNode>
        <dgm:layoutNode name="dotArrow6" styleLbl="alignNode1">
          <dgm:alg type="sp"/>
          <dgm:shape xmlns:r="http://schemas.openxmlformats.org/officeDocument/2006/relationships" type="ellipse" r:blip="">
            <dgm:adjLst/>
          </dgm:shape>
          <dgm:presOf/>
        </dgm:layoutNode>
        <dgm:layoutNode name="dotArrow7" styleLbl="alignNode1">
          <dgm:alg type="sp"/>
          <dgm:shape xmlns:r="http://schemas.openxmlformats.org/officeDocument/2006/relationships" type="ellipse" r:blip="">
            <dgm:adjLst/>
          </dgm:shape>
          <dgm:presOf/>
        </dgm:layoutNode>
      </dgm:if>
      <dgm:else name="Name92"/>
    </dgm:choose>
    <dgm:forEach name="Name93" axis="ch" ptType="node" cnt="1">
      <dgm:layoutNode name="parTx1">
        <dgm:choose name="Name94">
          <dgm:if name="Name95" func="var" arg="dir" op="equ" val="norm">
            <dgm:alg type="tx">
              <dgm:param type="parTxLTRAlign" val="l"/>
              <dgm:param type="parTxRTLAlign" val="r"/>
            </dgm:alg>
          </dgm:if>
          <dgm:else name="Name96">
            <dgm:alg type="tx">
              <dgm:param type="parTxLTRAlign" val="r"/>
              <dgm:param type="parTxRTLAlign" val="l"/>
            </dgm:alg>
          </dgm:else>
        </dgm:choose>
        <dgm:shape xmlns:r="http://schemas.openxmlformats.org/officeDocument/2006/relationships" type="roundRect" r:blip="">
          <dgm:adjLst/>
        </dgm:shape>
        <dgm:presOf axis="self" ptType="node"/>
        <dgm:choose name="Name97">
          <dgm:if name="Name98" func="var" arg="dir" op="equ" val="norm">
            <dgm:constrLst>
              <dgm:constr type="lMarg" refType="w" fact="0.6"/>
              <dgm:constr type="rMarg" refType="primFontSz" fact="0.3"/>
              <dgm:constr type="tMarg" refType="primFontSz" fact="0.3"/>
              <dgm:constr type="bMarg" refType="primFontSz" fact="0.3"/>
            </dgm:constrLst>
          </dgm:if>
          <dgm:else name="Name99">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00">
        <dgm:if name="Name101" axis="ch" ptType="node" func="cnt" op="gte" val="1">
          <dgm:layoutNode name="desTx1" styleLbl="revTx">
            <dgm:varLst>
              <dgm:bulletEnabled val="1"/>
            </dgm:varLst>
            <dgm:choose name="Name102">
              <dgm:if name="Name103" func="var" arg="dir" op="equ" val="norm">
                <dgm:choose name="Name104">
                  <dgm:if name="Name105" axis="ch" ptType="node" func="cnt" op="gte" val="2">
                    <dgm:alg type="tx">
                      <dgm:param type="parTxLTRAlign" val="l"/>
                      <dgm:param type="parTxRTLAlign" val="l"/>
                      <dgm:param type="stBulletLvl" val="1"/>
                    </dgm:alg>
                  </dgm:if>
                  <dgm:else name="Name106">
                    <dgm:alg type="tx">
                      <dgm:param type="parTxLTRAlign" val="l"/>
                      <dgm:param type="parTxRTLAlign" val="l"/>
                    </dgm:alg>
                  </dgm:else>
                </dgm:choose>
              </dgm:if>
              <dgm:else name="Name107">
                <dgm:choose name="Name108">
                  <dgm:if name="Name109" axis="ch" ptType="node" func="cnt" op="gte" val="2">
                    <dgm:alg type="tx">
                      <dgm:param type="parTxLTRAlign" val="r"/>
                      <dgm:param type="parTxRTLAlign" val="r"/>
                      <dgm:param type="shpTxLTRAlignCh" val="r"/>
                      <dgm:param type="shpTxRTLAlignCh" val="r"/>
                      <dgm:param type="stBulletLvl" val="1"/>
                    </dgm:alg>
                  </dgm:if>
                  <dgm:else name="Name110">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11"/>
      </dgm:choose>
    </dgm:forEach>
    <dgm:forEach name="Name112" axis="ch" ptType="sibTrans" hideLastTrans="0" cnt="1">
      <dgm:layoutNode name="picture1">
        <dgm:alg type="sp"/>
        <dgm:shape xmlns:r="http://schemas.openxmlformats.org/officeDocument/2006/relationships" r:blip="">
          <dgm:adjLst/>
        </dgm:shape>
        <dgm:presOf/>
        <dgm:constrLst/>
        <dgm:forEach name="Name113" ref="imageRepeat"/>
      </dgm:layoutNode>
    </dgm:forEach>
    <dgm:forEach name="Name114" axis="ch" ptType="node" st="2" cnt="1">
      <dgm:layoutNode name="parTx2">
        <dgm:choose name="Name115">
          <dgm:if name="Name116" func="var" arg="dir" op="equ" val="norm">
            <dgm:alg type="tx">
              <dgm:param type="parTxLTRAlign" val="l"/>
              <dgm:param type="parTxRTLAlign" val="r"/>
            </dgm:alg>
          </dgm:if>
          <dgm:else name="Name117">
            <dgm:alg type="tx">
              <dgm:param type="parTxLTRAlign" val="r"/>
              <dgm:param type="parTxRTLAlign" val="l"/>
            </dgm:alg>
          </dgm:else>
        </dgm:choose>
        <dgm:shape xmlns:r="http://schemas.openxmlformats.org/officeDocument/2006/relationships" type="roundRect" r:blip="">
          <dgm:adjLst/>
        </dgm:shape>
        <dgm:presOf axis="self" ptType="node"/>
        <dgm:choose name="Name118">
          <dgm:if name="Name119" func="var" arg="dir" op="equ" val="norm">
            <dgm:constrLst>
              <dgm:constr type="lMarg" refType="w" fact="0.6"/>
              <dgm:constr type="rMarg" refType="primFontSz" fact="0.3"/>
              <dgm:constr type="tMarg" refType="primFontSz" fact="0.3"/>
              <dgm:constr type="bMarg" refType="primFontSz" fact="0.3"/>
            </dgm:constrLst>
          </dgm:if>
          <dgm:else name="Name120">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21">
        <dgm:if name="Name122" axis="ch" ptType="node" func="cnt" op="gte" val="1">
          <dgm:layoutNode name="desTx2" styleLbl="revTx">
            <dgm:varLst>
              <dgm:bulletEnabled val="1"/>
            </dgm:varLst>
            <dgm:choose name="Name123">
              <dgm:if name="Name124" func="var" arg="dir" op="equ" val="norm">
                <dgm:choose name="Name125">
                  <dgm:if name="Name126" axis="ch" ptType="node" func="cnt" op="gte" val="2">
                    <dgm:alg type="tx">
                      <dgm:param type="parTxLTRAlign" val="l"/>
                      <dgm:param type="parTxRTLAlign" val="l"/>
                      <dgm:param type="stBulletLvl" val="1"/>
                    </dgm:alg>
                  </dgm:if>
                  <dgm:else name="Name127">
                    <dgm:alg type="tx">
                      <dgm:param type="parTxLTRAlign" val="l"/>
                      <dgm:param type="parTxRTLAlign" val="l"/>
                    </dgm:alg>
                  </dgm:else>
                </dgm:choose>
              </dgm:if>
              <dgm:else name="Name128">
                <dgm:choose name="Name129">
                  <dgm:if name="Name130" axis="ch" ptType="node" func="cnt" op="gte" val="2">
                    <dgm:alg type="tx">
                      <dgm:param type="parTxLTRAlign" val="r"/>
                      <dgm:param type="parTxRTLAlign" val="r"/>
                      <dgm:param type="shpTxLTRAlignCh" val="r"/>
                      <dgm:param type="shpTxRTLAlignCh" val="r"/>
                      <dgm:param type="stBulletLvl" val="1"/>
                    </dgm:alg>
                  </dgm:if>
                  <dgm:else name="Name131">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32"/>
      </dgm:choose>
    </dgm:forEach>
    <dgm:forEach name="Name133" axis="ch" ptType="sibTrans" hideLastTrans="0" st="2" cnt="1">
      <dgm:layoutNode name="picture2">
        <dgm:alg type="sp"/>
        <dgm:shape xmlns:r="http://schemas.openxmlformats.org/officeDocument/2006/relationships" r:blip="">
          <dgm:adjLst/>
        </dgm:shape>
        <dgm:presOf/>
        <dgm:constrLst/>
        <dgm:forEach name="Name134" ref="imageRepeat"/>
      </dgm:layoutNode>
    </dgm:forEach>
    <dgm:forEach name="Name135" axis="ch" ptType="node" st="3" cnt="1">
      <dgm:layoutNode name="parTx3">
        <dgm:choose name="Name136">
          <dgm:if name="Name137" func="var" arg="dir" op="equ" val="norm">
            <dgm:alg type="tx">
              <dgm:param type="parTxLTRAlign" val="l"/>
              <dgm:param type="parTxRTLAlign" val="r"/>
            </dgm:alg>
          </dgm:if>
          <dgm:else name="Name138">
            <dgm:alg type="tx">
              <dgm:param type="parTxLTRAlign" val="r"/>
              <dgm:param type="parTxRTLAlign" val="l"/>
            </dgm:alg>
          </dgm:else>
        </dgm:choose>
        <dgm:shape xmlns:r="http://schemas.openxmlformats.org/officeDocument/2006/relationships" type="roundRect" r:blip="">
          <dgm:adjLst/>
        </dgm:shape>
        <dgm:presOf axis="self" ptType="node"/>
        <dgm:choose name="Name139">
          <dgm:if name="Name140" func="var" arg="dir" op="equ" val="norm">
            <dgm:constrLst>
              <dgm:constr type="lMarg" refType="w" fact="0.6"/>
              <dgm:constr type="rMarg" refType="primFontSz" fact="0.3"/>
              <dgm:constr type="tMarg" refType="primFontSz" fact="0.3"/>
              <dgm:constr type="bMarg" refType="primFontSz" fact="0.3"/>
            </dgm:constrLst>
          </dgm:if>
          <dgm:else name="Name141">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42">
        <dgm:if name="Name143" axis="ch" ptType="node" func="cnt" op="gte" val="1">
          <dgm:layoutNode name="desTx3" styleLbl="revTx">
            <dgm:varLst>
              <dgm:bulletEnabled val="1"/>
            </dgm:varLst>
            <dgm:choose name="Name144">
              <dgm:if name="Name145" func="var" arg="dir" op="equ" val="norm">
                <dgm:choose name="Name146">
                  <dgm:if name="Name147" axis="ch" ptType="node" func="cnt" op="gte" val="2">
                    <dgm:alg type="tx">
                      <dgm:param type="parTxLTRAlign" val="l"/>
                      <dgm:param type="parTxRTLAlign" val="l"/>
                      <dgm:param type="stBulletLvl" val="1"/>
                    </dgm:alg>
                  </dgm:if>
                  <dgm:else name="Name148">
                    <dgm:alg type="tx">
                      <dgm:param type="parTxLTRAlign" val="l"/>
                      <dgm:param type="parTxRTLAlign" val="l"/>
                    </dgm:alg>
                  </dgm:else>
                </dgm:choose>
              </dgm:if>
              <dgm:else name="Name149">
                <dgm:choose name="Name150">
                  <dgm:if name="Name151" axis="ch" ptType="node" func="cnt" op="gte" val="2">
                    <dgm:alg type="tx">
                      <dgm:param type="parTxLTRAlign" val="r"/>
                      <dgm:param type="parTxRTLAlign" val="r"/>
                      <dgm:param type="shpTxLTRAlignCh" val="r"/>
                      <dgm:param type="shpTxRTLAlignCh" val="r"/>
                      <dgm:param type="stBulletLvl" val="1"/>
                    </dgm:alg>
                  </dgm:if>
                  <dgm:else name="Name152">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53"/>
      </dgm:choose>
    </dgm:forEach>
    <dgm:forEach name="Name154" axis="ch" ptType="sibTrans" hideLastTrans="0" st="3" cnt="1">
      <dgm:layoutNode name="picture3">
        <dgm:alg type="sp"/>
        <dgm:shape xmlns:r="http://schemas.openxmlformats.org/officeDocument/2006/relationships" r:blip="">
          <dgm:adjLst/>
        </dgm:shape>
        <dgm:presOf/>
        <dgm:constrLst/>
        <dgm:forEach name="Name155" ref="imageRepeat"/>
      </dgm:layoutNode>
    </dgm:forEach>
    <dgm:forEach name="Name156" axis="ch" ptType="node" st="4" cnt="1">
      <dgm:layoutNode name="parTx4">
        <dgm:choose name="Name157">
          <dgm:if name="Name158" func="var" arg="dir" op="equ" val="norm">
            <dgm:alg type="tx">
              <dgm:param type="parTxLTRAlign" val="l"/>
              <dgm:param type="parTxRTLAlign" val="r"/>
            </dgm:alg>
          </dgm:if>
          <dgm:else name="Name159">
            <dgm:alg type="tx">
              <dgm:param type="parTxLTRAlign" val="r"/>
              <dgm:param type="parTxRTLAlign" val="l"/>
            </dgm:alg>
          </dgm:else>
        </dgm:choose>
        <dgm:shape xmlns:r="http://schemas.openxmlformats.org/officeDocument/2006/relationships" type="roundRect" r:blip="">
          <dgm:adjLst/>
        </dgm:shape>
        <dgm:presOf axis="self" ptType="node"/>
        <dgm:choose name="Name160">
          <dgm:if name="Name161" func="var" arg="dir" op="equ" val="norm">
            <dgm:constrLst>
              <dgm:constr type="lMarg" refType="w" fact="0.6"/>
              <dgm:constr type="rMarg" refType="primFontSz" fact="0.3"/>
              <dgm:constr type="tMarg" refType="primFontSz" fact="0.3"/>
              <dgm:constr type="bMarg" refType="primFontSz" fact="0.3"/>
            </dgm:constrLst>
          </dgm:if>
          <dgm:else name="Name162">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63">
        <dgm:if name="Name164" axis="ch" ptType="node" func="cnt" op="gte" val="1">
          <dgm:layoutNode name="desTx4" styleLbl="revTx">
            <dgm:varLst>
              <dgm:bulletEnabled val="1"/>
            </dgm:varLst>
            <dgm:choose name="Name165">
              <dgm:if name="Name166" func="var" arg="dir" op="equ" val="norm">
                <dgm:choose name="Name167">
                  <dgm:if name="Name168" axis="ch" ptType="node" func="cnt" op="gte" val="2">
                    <dgm:alg type="tx">
                      <dgm:param type="parTxLTRAlign" val="l"/>
                      <dgm:param type="parTxRTLAlign" val="l"/>
                      <dgm:param type="stBulletLvl" val="1"/>
                    </dgm:alg>
                  </dgm:if>
                  <dgm:else name="Name169">
                    <dgm:alg type="tx">
                      <dgm:param type="parTxLTRAlign" val="l"/>
                      <dgm:param type="parTxRTLAlign" val="l"/>
                    </dgm:alg>
                  </dgm:else>
                </dgm:choose>
              </dgm:if>
              <dgm:else name="Name170">
                <dgm:choose name="Name171">
                  <dgm:if name="Name172" axis="ch" ptType="node" func="cnt" op="gte" val="2">
                    <dgm:alg type="tx">
                      <dgm:param type="parTxLTRAlign" val="r"/>
                      <dgm:param type="parTxRTLAlign" val="r"/>
                      <dgm:param type="shpTxLTRAlignCh" val="r"/>
                      <dgm:param type="shpTxRTLAlignCh" val="r"/>
                      <dgm:param type="stBulletLvl" val="1"/>
                    </dgm:alg>
                  </dgm:if>
                  <dgm:else name="Name173">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74"/>
      </dgm:choose>
    </dgm:forEach>
    <dgm:forEach name="Name175" axis="ch" ptType="sibTrans" hideLastTrans="0" st="4" cnt="1">
      <dgm:layoutNode name="picture4">
        <dgm:alg type="sp"/>
        <dgm:shape xmlns:r="http://schemas.openxmlformats.org/officeDocument/2006/relationships" r:blip="">
          <dgm:adjLst/>
        </dgm:shape>
        <dgm:presOf/>
        <dgm:constrLst/>
        <dgm:forEach name="Name176" ref="imageRepeat"/>
      </dgm:layoutNode>
    </dgm:forEach>
    <dgm:forEach name="Name177" axis="ch" ptType="node" st="5" cnt="1">
      <dgm:layoutNode name="parTx5">
        <dgm:choose name="Name178">
          <dgm:if name="Name179" func="var" arg="dir" op="equ" val="norm">
            <dgm:alg type="tx">
              <dgm:param type="parTxLTRAlign" val="l"/>
              <dgm:param type="parTxRTLAlign" val="r"/>
            </dgm:alg>
          </dgm:if>
          <dgm:else name="Name180">
            <dgm:alg type="tx">
              <dgm:param type="parTxLTRAlign" val="r"/>
              <dgm:param type="parTxRTLAlign" val="l"/>
            </dgm:alg>
          </dgm:else>
        </dgm:choose>
        <dgm:shape xmlns:r="http://schemas.openxmlformats.org/officeDocument/2006/relationships" type="roundRect" r:blip="">
          <dgm:adjLst/>
        </dgm:shape>
        <dgm:presOf axis="self" ptType="node"/>
        <dgm:choose name="Name181">
          <dgm:if name="Name182" func="var" arg="dir" op="equ" val="norm">
            <dgm:constrLst>
              <dgm:constr type="lMarg" refType="w" fact="0.6"/>
              <dgm:constr type="rMarg" refType="primFontSz" fact="0.3"/>
              <dgm:constr type="tMarg" refType="primFontSz" fact="0.3"/>
              <dgm:constr type="bMarg" refType="primFontSz" fact="0.3"/>
            </dgm:constrLst>
          </dgm:if>
          <dgm:else name="Name183">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184">
        <dgm:if name="Name185" axis="ch" ptType="node" func="cnt" op="gte" val="1">
          <dgm:layoutNode name="desTx5" styleLbl="revTx">
            <dgm:varLst>
              <dgm:bulletEnabled val="1"/>
            </dgm:varLst>
            <dgm:choose name="Name186">
              <dgm:if name="Name187" func="var" arg="dir" op="equ" val="norm">
                <dgm:choose name="Name188">
                  <dgm:if name="Name189" axis="ch" ptType="node" func="cnt" op="gte" val="2">
                    <dgm:alg type="tx">
                      <dgm:param type="parTxLTRAlign" val="l"/>
                      <dgm:param type="parTxRTLAlign" val="l"/>
                      <dgm:param type="stBulletLvl" val="1"/>
                    </dgm:alg>
                  </dgm:if>
                  <dgm:else name="Name190">
                    <dgm:alg type="tx">
                      <dgm:param type="parTxLTRAlign" val="l"/>
                      <dgm:param type="parTxRTLAlign" val="l"/>
                    </dgm:alg>
                  </dgm:else>
                </dgm:choose>
              </dgm:if>
              <dgm:else name="Name191">
                <dgm:choose name="Name192">
                  <dgm:if name="Name193" axis="ch" ptType="node" func="cnt" op="gte" val="2">
                    <dgm:alg type="tx">
                      <dgm:param type="parTxLTRAlign" val="r"/>
                      <dgm:param type="parTxRTLAlign" val="r"/>
                      <dgm:param type="shpTxLTRAlignCh" val="r"/>
                      <dgm:param type="shpTxRTLAlignCh" val="r"/>
                      <dgm:param type="stBulletLvl" val="1"/>
                    </dgm:alg>
                  </dgm:if>
                  <dgm:else name="Name194">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195"/>
      </dgm:choose>
    </dgm:forEach>
    <dgm:forEach name="Name196" axis="ch" ptType="sibTrans" hideLastTrans="0" st="5" cnt="1">
      <dgm:layoutNode name="picture5">
        <dgm:alg type="sp"/>
        <dgm:shape xmlns:r="http://schemas.openxmlformats.org/officeDocument/2006/relationships" r:blip="">
          <dgm:adjLst/>
        </dgm:shape>
        <dgm:presOf/>
        <dgm:constrLst/>
        <dgm:forEach name="Name197" ref="imageRepeat"/>
      </dgm:layoutNode>
    </dgm:forEach>
    <dgm:forEach name="Name198" axis="ch" ptType="node" st="6" cnt="1">
      <dgm:layoutNode name="parTx6">
        <dgm:choose name="Name199">
          <dgm:if name="Name200" func="var" arg="dir" op="equ" val="norm">
            <dgm:alg type="tx">
              <dgm:param type="parTxLTRAlign" val="l"/>
              <dgm:param type="parTxRTLAlign" val="r"/>
            </dgm:alg>
          </dgm:if>
          <dgm:else name="Name201">
            <dgm:alg type="tx">
              <dgm:param type="parTxLTRAlign" val="r"/>
              <dgm:param type="parTxRTLAlign" val="l"/>
            </dgm:alg>
          </dgm:else>
        </dgm:choose>
        <dgm:shape xmlns:r="http://schemas.openxmlformats.org/officeDocument/2006/relationships" type="roundRect" r:blip="">
          <dgm:adjLst/>
        </dgm:shape>
        <dgm:presOf axis="self" ptType="node"/>
        <dgm:choose name="Name202">
          <dgm:if name="Name203" func="var" arg="dir" op="equ" val="norm">
            <dgm:constrLst>
              <dgm:constr type="lMarg" refType="w" fact="0.6"/>
              <dgm:constr type="rMarg" refType="primFontSz" fact="0.3"/>
              <dgm:constr type="tMarg" refType="primFontSz" fact="0.3"/>
              <dgm:constr type="bMarg" refType="primFontSz" fact="0.3"/>
            </dgm:constrLst>
          </dgm:if>
          <dgm:else name="Name204">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05">
        <dgm:if name="Name206" axis="ch" ptType="node" func="cnt" op="gte" val="1">
          <dgm:layoutNode name="desTx6" styleLbl="revTx">
            <dgm:varLst>
              <dgm:bulletEnabled val="1"/>
            </dgm:varLst>
            <dgm:choose name="Name207">
              <dgm:if name="Name208" func="var" arg="dir" op="equ" val="norm">
                <dgm:choose name="Name209">
                  <dgm:if name="Name210" axis="ch" ptType="node" func="cnt" op="gte" val="2">
                    <dgm:alg type="tx">
                      <dgm:param type="parTxLTRAlign" val="l"/>
                      <dgm:param type="parTxRTLAlign" val="l"/>
                      <dgm:param type="stBulletLvl" val="1"/>
                    </dgm:alg>
                  </dgm:if>
                  <dgm:else name="Name211">
                    <dgm:alg type="tx">
                      <dgm:param type="parTxLTRAlign" val="l"/>
                      <dgm:param type="parTxRTLAlign" val="l"/>
                    </dgm:alg>
                  </dgm:else>
                </dgm:choose>
              </dgm:if>
              <dgm:else name="Name212">
                <dgm:choose name="Name213">
                  <dgm:if name="Name214" axis="ch" ptType="node" func="cnt" op="gte" val="2">
                    <dgm:alg type="tx">
                      <dgm:param type="parTxLTRAlign" val="r"/>
                      <dgm:param type="parTxRTLAlign" val="r"/>
                      <dgm:param type="shpTxLTRAlignCh" val="r"/>
                      <dgm:param type="shpTxRTLAlignCh" val="r"/>
                      <dgm:param type="stBulletLvl" val="1"/>
                    </dgm:alg>
                  </dgm:if>
                  <dgm:else name="Name215">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16"/>
      </dgm:choose>
    </dgm:forEach>
    <dgm:forEach name="Name217" axis="ch" ptType="sibTrans" hideLastTrans="0" st="6" cnt="1">
      <dgm:layoutNode name="picture6">
        <dgm:alg type="sp"/>
        <dgm:shape xmlns:r="http://schemas.openxmlformats.org/officeDocument/2006/relationships" r:blip="">
          <dgm:adjLst/>
        </dgm:shape>
        <dgm:presOf/>
        <dgm:constrLst/>
        <dgm:forEach name="Name218" ref="imageRepeat"/>
      </dgm:layoutNode>
    </dgm:forEach>
    <dgm:forEach name="Name219" axis="ch" ptType="node" st="7" cnt="1">
      <dgm:layoutNode name="parTx7">
        <dgm:choose name="Name220">
          <dgm:if name="Name221" func="var" arg="dir" op="equ" val="norm">
            <dgm:alg type="tx">
              <dgm:param type="parTxLTRAlign" val="l"/>
              <dgm:param type="parTxRTLAlign" val="r"/>
            </dgm:alg>
          </dgm:if>
          <dgm:else name="Name222">
            <dgm:alg type="tx">
              <dgm:param type="parTxLTRAlign" val="r"/>
              <dgm:param type="parTxRTLAlign" val="l"/>
            </dgm:alg>
          </dgm:else>
        </dgm:choose>
        <dgm:shape xmlns:r="http://schemas.openxmlformats.org/officeDocument/2006/relationships" type="roundRect" r:blip="">
          <dgm:adjLst/>
        </dgm:shape>
        <dgm:presOf axis="self" ptType="node"/>
        <dgm:choose name="Name223">
          <dgm:if name="Name224" func="var" arg="dir" op="equ" val="norm">
            <dgm:constrLst>
              <dgm:constr type="lMarg" refType="w" fact="0.6"/>
              <dgm:constr type="rMarg" refType="primFontSz" fact="0.3"/>
              <dgm:constr type="tMarg" refType="primFontSz" fact="0.3"/>
              <dgm:constr type="bMarg" refType="primFontSz" fact="0.3"/>
            </dgm:constrLst>
          </dgm:if>
          <dgm:else name="Name225">
            <dgm:constrLst>
              <dgm:constr type="rMarg" refType="w" fact="0.6"/>
              <dgm:constr type="lMarg" refType="primFontSz" fact="0.3"/>
              <dgm:constr type="tMarg" refType="primFontSz" fact="0.3"/>
              <dgm:constr type="bMarg" refType="primFontSz" fact="0.3"/>
            </dgm:constrLst>
          </dgm:else>
        </dgm:choose>
        <dgm:ruleLst>
          <dgm:rule type="primFontSz" val="5" fact="NaN" max="NaN"/>
        </dgm:ruleLst>
      </dgm:layoutNode>
      <dgm:choose name="Name226">
        <dgm:if name="Name227" axis="ch" ptType="node" func="cnt" op="gte" val="1">
          <dgm:layoutNode name="desTx7" styleLbl="revTx">
            <dgm:varLst>
              <dgm:bulletEnabled val="1"/>
            </dgm:varLst>
            <dgm:choose name="Name228">
              <dgm:if name="Name229" func="var" arg="dir" op="equ" val="norm">
                <dgm:choose name="Name230">
                  <dgm:if name="Name231" axis="ch" ptType="node" func="cnt" op="gte" val="2">
                    <dgm:alg type="tx">
                      <dgm:param type="parTxLTRAlign" val="l"/>
                      <dgm:param type="parTxRTLAlign" val="l"/>
                      <dgm:param type="stBulletLvl" val="1"/>
                    </dgm:alg>
                  </dgm:if>
                  <dgm:else name="Name232">
                    <dgm:alg type="tx">
                      <dgm:param type="parTxLTRAlign" val="l"/>
                      <dgm:param type="parTxRTLAlign" val="l"/>
                    </dgm:alg>
                  </dgm:else>
                </dgm:choose>
              </dgm:if>
              <dgm:else name="Name233">
                <dgm:choose name="Name234">
                  <dgm:if name="Name235" axis="ch" ptType="node" func="cnt" op="gte" val="2">
                    <dgm:alg type="tx">
                      <dgm:param type="parTxLTRAlign" val="r"/>
                      <dgm:param type="parTxRTLAlign" val="r"/>
                      <dgm:param type="shpTxLTRAlignCh" val="r"/>
                      <dgm:param type="shpTxRTLAlignCh" val="r"/>
                      <dgm:param type="stBulletLvl" val="1"/>
                    </dgm:alg>
                  </dgm:if>
                  <dgm:else name="Name236">
                    <dgm:alg type="tx">
                      <dgm:param type="parTxLTRAlign" val="r"/>
                      <dgm:param type="parTxRTLAlign" val="r"/>
                      <dgm:param type="shpTxLTRAlignCh" val="r"/>
                      <dgm:param type="shpTxRTLAlignCh" val="r"/>
                    </dgm:alg>
                  </dgm:else>
                </dgm:choose>
              </dgm:else>
            </dgm:choose>
            <dgm:shape xmlns:r="http://schemas.openxmlformats.org/officeDocument/2006/relationships" type="rect" r:blip="">
              <dgm:adjLst/>
            </dgm:shape>
            <dgm:presOf axis="des" ptType="node"/>
            <dgm:constrLst>
              <dgm:constr type="rMarg" refType="primFontSz" fact="0.2"/>
              <dgm:constr type="tMarg" refType="primFontSz" fact="0.2"/>
              <dgm:constr type="bMarg" refType="primFontSz" fact="0.2"/>
            </dgm:constrLst>
            <dgm:ruleLst>
              <dgm:rule type="primFontSz" val="5" fact="NaN" max="NaN"/>
            </dgm:ruleLst>
          </dgm:layoutNode>
        </dgm:if>
        <dgm:else name="Name237"/>
      </dgm:choose>
    </dgm:forEach>
    <dgm:forEach name="Name238" axis="ch" ptType="sibTrans" hideLastTrans="0" st="7" cnt="1">
      <dgm:layoutNode name="picture7">
        <dgm:alg type="sp"/>
        <dgm:shape xmlns:r="http://schemas.openxmlformats.org/officeDocument/2006/relationships" r:blip="">
          <dgm:adjLst/>
        </dgm:shape>
        <dgm:presOf/>
        <dgm:constrLst/>
        <dgm:forEach name="Name239" ref="imageRepea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843078-645D-4158-A787-42F60CFF6D2A}" type="datetimeFigureOut">
              <a:rPr lang="de-DE" smtClean="0"/>
              <a:t>19.12.23</a:t>
            </a:fld>
            <a:endParaRPr lang="de-DE" dirty="0"/>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C3DBE-79DB-4D91-9218-7EE4FE497323}" type="slidenum">
              <a:rPr lang="de-DE" smtClean="0"/>
              <a:t>‹#›</a:t>
            </a:fld>
            <a:endParaRPr lang="de-DE" dirty="0"/>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19.12.23</a:t>
            </a:fld>
            <a:endParaRPr lang="de-DE" dirty="0"/>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a:t>
            </a:fld>
            <a:endParaRPr lang="de-DE" dirty="0"/>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ecochain.com/blog/environmental-product-declaration-epd-overview/#:~:text=EPDs%20are%20often%20required%20in,LEED%2C%20BREEAM%2C%20and%20GreenStar"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sustainability.gov/federalsustainabilityplan/index.html"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whitehouse.gov/briefing-room/presidential-actions/2021/12/08/executive-order-on-catalyzing-clean-energy-industries-and-jobs-through-federal-sustainability/"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whitehouse.gov/briefing-room/statements-releases/2022/05/16/president-biden-announces-new-actions-to-ease-the-burden-of-housing-cost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neopor.basf.us/resources/course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200" b="0" kern="1200" dirty="0">
                <a:solidFill>
                  <a:schemeClr val="tx1"/>
                </a:solidFill>
                <a:latin typeface="+mn-lt"/>
                <a:ea typeface="+mn-ea"/>
                <a:cs typeface="+mn-cs"/>
              </a:rPr>
              <a:t>Welcome. I am BLANK and I want to thank you for attending today’s half-hour program, which is an add-on nano course for a course you should have already attended: </a:t>
            </a:r>
            <a:r>
              <a:rPr lang="en-US" sz="1200" i="1" dirty="0">
                <a:solidFill>
                  <a:srgbClr val="000000"/>
                </a:solidFill>
                <a:effectLst/>
                <a:ea typeface="Times New Roman" panose="02020603050405020304" pitchFamily="18" charset="0"/>
                <a:cs typeface="Times New Roman" panose="02020603050405020304" pitchFamily="18" charset="0"/>
              </a:rPr>
              <a:t>Not Your Grandmother's Vinyl Siding, the Advantages of Graphite Polystyrene Insulated Vinyl Siding. </a:t>
            </a:r>
            <a:r>
              <a:rPr lang="en-US" dirty="0">
                <a:solidFill>
                  <a:srgbClr val="000000"/>
                </a:solidFill>
                <a:ea typeface="Times New Roman" panose="02020603050405020304" pitchFamily="18" charset="0"/>
                <a:cs typeface="Times New Roman" panose="02020603050405020304" pitchFamily="18" charset="0"/>
              </a:rPr>
              <a:t>This course, </a:t>
            </a:r>
            <a:r>
              <a:rPr lang="en-US" b="0" i="1" u="none" strike="noStrike" dirty="0">
                <a:effectLst/>
                <a:latin typeface="Architype"/>
              </a:rPr>
              <a:t>Environmental Product Declarations (EPD) and Graphite Polystyrene Insulated Vinyl Siding, </a:t>
            </a:r>
            <a:r>
              <a:rPr lang="en-US" b="0" u="none" strike="noStrike" dirty="0">
                <a:effectLst/>
                <a:latin typeface="Architype"/>
              </a:rPr>
              <a:t>is approved by the American Institute of Architects for 0.5</a:t>
            </a:r>
            <a:r>
              <a:rPr lang="en-US" dirty="0">
                <a:latin typeface="Architype"/>
              </a:rPr>
              <a:t> health, safety, and welfare credit hours Please include your full name, firm, email address, and if applicable, your AIA member number so that we can register your attendance. All participants will receive a certificate of completion for self-reporting purposes as well. </a:t>
            </a:r>
            <a:endParaRPr lang="en-US" b="0" u="none" strike="noStrike" dirty="0">
              <a:effectLst/>
              <a:latin typeface="Architype"/>
            </a:endParaRPr>
          </a:p>
          <a:p>
            <a:endParaRPr lang="en-US" sz="1200" b="0" i="1"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1</a:t>
            </a:fld>
            <a:endParaRPr lang="de-DE" dirty="0"/>
          </a:p>
        </p:txBody>
      </p:sp>
    </p:spTree>
    <p:extLst>
      <p:ext uri="{BB962C8B-B14F-4D97-AF65-F5344CB8AC3E}">
        <p14:creationId xmlns:p14="http://schemas.microsoft.com/office/powerpoint/2010/main" val="4108753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dirty="0">
                <a:effectLst/>
                <a:ea typeface="Calibri" panose="020F0502020204030204" pitchFamily="34" charset="0"/>
                <a:cs typeface="Times New Roman" panose="02020603050405020304" pitchFamily="18" charset="0"/>
              </a:rPr>
              <a:t>Here, we see the workflow of making an EPD. The first step in creating an EPD is identifying the correct set of Product Category Rules (PCRs) to ensure that products within the same category are measured similarly. PCRs exist within building material categories like concrete, metals, finishes, insulation, etc.. As well as sub-types. </a:t>
            </a:r>
          </a:p>
          <a:p>
            <a:r>
              <a:rPr lang="en-US" dirty="0">
                <a:effectLst/>
                <a:ea typeface="Calibri" panose="020F0502020204030204" pitchFamily="34" charset="0"/>
                <a:cs typeface="Times New Roman" panose="02020603050405020304" pitchFamily="18" charset="0"/>
              </a:rPr>
              <a:t>EPDs are based on Life Cycle Assessments (LCAs); however, EPDs differ from LCAs in many ways. For example, EPDs don’t include proprietary information about formulations or manufacturing processes. A certified independent provider verifies the LCA data and develops the EPD.  The EPD is then registered and published. </a:t>
            </a:r>
            <a:r>
              <a:rPr lang="en-US" dirty="0">
                <a:effectLst/>
              </a:rPr>
              <a:t> </a:t>
            </a:r>
            <a:endParaRPr lang="en-US" b="0" i="0" u="none" strike="noStrike" dirty="0">
              <a:solidFill>
                <a:srgbClr val="202122"/>
              </a:solidFill>
              <a:effectLst/>
            </a:endParaRPr>
          </a:p>
          <a:p>
            <a:endParaRPr lang="en-US" b="0" i="0" u="none" strike="noStrike" baseline="30000" dirty="0">
              <a:solidFill>
                <a:srgbClr val="795CB2"/>
              </a:solidFill>
              <a:effectLst/>
              <a:latin typeface="Arial" panose="020B0604020202020204" pitchFamily="34" charset="0"/>
            </a:endParaRPr>
          </a:p>
          <a:p>
            <a:r>
              <a:rPr lang="en-US" b="0" i="0" u="none" strike="noStrike" baseline="30000" dirty="0">
                <a:solidFill>
                  <a:srgbClr val="795CB2"/>
                </a:solidFill>
                <a:effectLst/>
                <a:latin typeface="Arial" panose="020B0604020202020204" pitchFamily="34" charset="0"/>
              </a:rPr>
              <a:t>Source:: https://en.wikipedia.org/wiki/Environmental_Product_Declaration</a:t>
            </a:r>
          </a:p>
          <a:p>
            <a:endParaRPr lang="en-US" b="0" i="0" u="none" strike="noStrike" baseline="30000" dirty="0">
              <a:solidFill>
                <a:srgbClr val="795CB2"/>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10</a:t>
            </a:fld>
            <a:endParaRPr lang="de-DE" dirty="0"/>
          </a:p>
        </p:txBody>
      </p:sp>
    </p:spTree>
    <p:extLst>
      <p:ext uri="{BB962C8B-B14F-4D97-AF65-F5344CB8AC3E}">
        <p14:creationId xmlns:p14="http://schemas.microsoft.com/office/powerpoint/2010/main" val="546556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1238" y="433388"/>
            <a:ext cx="4833937" cy="3625850"/>
          </a:xfrm>
        </p:spPr>
      </p:sp>
      <p:sp>
        <p:nvSpPr>
          <p:cNvPr id="3" name="Notes Placeholder 2"/>
          <p:cNvSpPr>
            <a:spLocks noGrp="1"/>
          </p:cNvSpPr>
          <p:nvPr>
            <p:ph type="body" idx="1"/>
          </p:nvPr>
        </p:nvSpPr>
        <p:spPr>
          <a:xfrm>
            <a:off x="685800" y="4400549"/>
            <a:ext cx="5486400" cy="4579822"/>
          </a:xfrm>
        </p:spPr>
        <p:txBody>
          <a:bodyPr/>
          <a:lstStyle/>
          <a:p>
            <a:pPr lvl="0"/>
            <a:r>
              <a:rPr lang="en-GB" sz="1200" kern="1200" dirty="0">
                <a:solidFill>
                  <a:schemeClr val="tx1"/>
                </a:solidFill>
                <a:effectLst/>
                <a:cs typeface="Arial" panose="020B0604020202020204" pitchFamily="34" charset="0"/>
              </a:rPr>
              <a:t>The depth and breadth of an LCA can differ considerably depending on the goal of a particular LCA.</a:t>
            </a:r>
          </a:p>
          <a:p>
            <a:endParaRPr lang="en-US" sz="1200" kern="1200" dirty="0">
              <a:solidFill>
                <a:schemeClr val="tx1"/>
              </a:solidFill>
              <a:effectLst/>
              <a:cs typeface="Arial" panose="020B0604020202020204" pitchFamily="34" charset="0"/>
            </a:endParaRPr>
          </a:p>
          <a:p>
            <a:r>
              <a:rPr lang="en-US" sz="1200" kern="1200" dirty="0">
                <a:solidFill>
                  <a:schemeClr val="tx1"/>
                </a:solidFill>
                <a:effectLst/>
                <a:cs typeface="Arial" panose="020B0604020202020204" pitchFamily="34" charset="0"/>
              </a:rPr>
              <a:t>Source:</a:t>
            </a:r>
            <a:r>
              <a:rPr lang="en-US" sz="1200" kern="1200" baseline="0" dirty="0">
                <a:solidFill>
                  <a:schemeClr val="tx1"/>
                </a:solidFill>
                <a:effectLst/>
                <a:cs typeface="Arial" panose="020B0604020202020204" pitchFamily="34" charset="0"/>
              </a:rPr>
              <a:t> </a:t>
            </a:r>
            <a:r>
              <a:rPr lang="en-US" sz="1200" kern="1200" dirty="0">
                <a:solidFill>
                  <a:schemeClr val="tx1"/>
                </a:solidFill>
                <a:effectLst/>
                <a:cs typeface="Arial" panose="020B0604020202020204" pitchFamily="34" charset="0"/>
              </a:rPr>
              <a:t>“International Standard, ISO 14040: Environmental management – Life cycle assessment – Principles and framework.” (2006, revised 2016). </a:t>
            </a:r>
            <a:r>
              <a:rPr lang="en-US" sz="1200" i="1" kern="1200" dirty="0">
                <a:solidFill>
                  <a:schemeClr val="tx1"/>
                </a:solidFill>
                <a:effectLst/>
                <a:cs typeface="Arial" panose="020B0604020202020204" pitchFamily="34" charset="0"/>
              </a:rPr>
              <a:t>ISO</a:t>
            </a:r>
            <a:r>
              <a:rPr lang="en-US" sz="1200" kern="1200" dirty="0">
                <a:solidFill>
                  <a:schemeClr val="tx1"/>
                </a:solidFill>
                <a:effectLst/>
                <a:cs typeface="Arial" panose="020B0604020202020204" pitchFamily="34" charset="0"/>
              </a:rPr>
              <a:t>. Retrieved from https://www.iso.org/obp/ui/#iso:std:iso:14040:ed-2:v1:en</a:t>
            </a:r>
          </a:p>
          <a:p>
            <a:r>
              <a:rPr lang="en-US" dirty="0">
                <a:cs typeface="Arial" panose="020B0604020202020204" pitchFamily="34" charset="0"/>
              </a:rPr>
              <a:t> </a:t>
            </a:r>
          </a:p>
          <a:p>
            <a:r>
              <a:rPr lang="en-US" dirty="0">
                <a:cs typeface="Arial" panose="020B0604020202020204" pitchFamily="34" charset="0"/>
              </a:rPr>
              <a:t>Here, we see a variety of LCA  and EPD options.</a:t>
            </a:r>
          </a:p>
          <a:p>
            <a:endParaRPr lang="en-US" dirty="0">
              <a:cs typeface="Arial" panose="020B0604020202020204" pitchFamily="34" charset="0"/>
            </a:endParaRPr>
          </a:p>
          <a:p>
            <a:pPr algn="l" fontAlgn="base">
              <a:buFont typeface="Arial" panose="020B0604020202020204" pitchFamily="34" charset="0"/>
              <a:buChar char="•"/>
            </a:pPr>
            <a:r>
              <a:rPr lang="en-US" sz="1200" b="1" i="0" u="none" strike="noStrike" dirty="0">
                <a:solidFill>
                  <a:srgbClr val="282828"/>
                </a:solidFill>
                <a:effectLst/>
                <a:cs typeface="Arial" panose="020B0604020202020204" pitchFamily="34" charset="0"/>
              </a:rPr>
              <a:t>Cradle-to-gate EPD</a:t>
            </a:r>
            <a:r>
              <a:rPr lang="en-US" sz="1200" b="0" i="0" u="none" strike="noStrike" dirty="0">
                <a:solidFill>
                  <a:srgbClr val="282828"/>
                </a:solidFill>
                <a:effectLst/>
                <a:cs typeface="Arial" panose="020B0604020202020204" pitchFamily="34" charset="0"/>
              </a:rPr>
              <a:t> involves only the manufacturing process and harvesting of a material. It has the minimum amount of data for life-cycle assessment.</a:t>
            </a:r>
          </a:p>
          <a:p>
            <a:pPr algn="l" fontAlgn="base">
              <a:buFont typeface="Arial" panose="020B0604020202020204" pitchFamily="34" charset="0"/>
              <a:buChar char="•"/>
            </a:pPr>
            <a:endParaRPr lang="en-US" sz="1200" b="0" i="0" u="none" strike="noStrike" dirty="0">
              <a:solidFill>
                <a:srgbClr val="282828"/>
              </a:solidFill>
              <a:effectLst/>
              <a:cs typeface="Arial" panose="020B0604020202020204" pitchFamily="34" charset="0"/>
            </a:endParaRPr>
          </a:p>
          <a:p>
            <a:pPr algn="l" fontAlgn="base">
              <a:buFont typeface="Arial" panose="020B0604020202020204" pitchFamily="34" charset="0"/>
              <a:buChar char="•"/>
            </a:pPr>
            <a:r>
              <a:rPr lang="en-US" sz="1200" b="1" i="0" u="none" strike="noStrike" dirty="0">
                <a:solidFill>
                  <a:srgbClr val="282828"/>
                </a:solidFill>
                <a:effectLst/>
                <a:cs typeface="Arial" panose="020B0604020202020204" pitchFamily="34" charset="0"/>
              </a:rPr>
              <a:t>Cradle-to-gate options</a:t>
            </a:r>
            <a:r>
              <a:rPr lang="en-US" sz="1200" b="0" i="0" u="none" strike="noStrike" dirty="0">
                <a:solidFill>
                  <a:srgbClr val="282828"/>
                </a:solidFill>
                <a:effectLst/>
                <a:cs typeface="Arial" panose="020B0604020202020204" pitchFamily="34" charset="0"/>
              </a:rPr>
              <a:t> include the minimum requirements in the cradle-to-gate option with a few additional information modules from cradle-to-grave EPD variation.</a:t>
            </a:r>
          </a:p>
          <a:p>
            <a:pPr algn="l" fontAlgn="base"/>
            <a:endParaRPr lang="en-US" sz="1200" b="1" dirty="0">
              <a:solidFill>
                <a:srgbClr val="282828"/>
              </a:solidFill>
              <a:cs typeface="Arial" panose="020B0604020202020204" pitchFamily="34" charset="0"/>
            </a:endParaRPr>
          </a:p>
          <a:p>
            <a:pPr algn="l" fontAlgn="base">
              <a:buFont typeface="Arial" panose="020B0604020202020204" pitchFamily="34" charset="0"/>
              <a:buChar char="•"/>
            </a:pPr>
            <a:r>
              <a:rPr lang="en-US" sz="1200" b="1" i="0" u="none" strike="noStrike" dirty="0">
                <a:solidFill>
                  <a:srgbClr val="282828"/>
                </a:solidFill>
                <a:effectLst/>
                <a:cs typeface="Arial" panose="020B0604020202020204" pitchFamily="34" charset="0"/>
              </a:rPr>
              <a:t>Cradle-to-grave EPD</a:t>
            </a:r>
            <a:r>
              <a:rPr lang="en-US" sz="1200" b="0" i="0" u="none" strike="noStrike" dirty="0">
                <a:solidFill>
                  <a:srgbClr val="282828"/>
                </a:solidFill>
                <a:effectLst/>
                <a:cs typeface="Arial" panose="020B0604020202020204" pitchFamily="34" charset="0"/>
              </a:rPr>
              <a:t> includes the whole life cycle of a product, explicitly covering its maintenance and the end of life. If you wish to create an EPD for your product or utilize your manufacturer’s EPD, this is the option you should select.</a:t>
            </a:r>
          </a:p>
          <a:p>
            <a:pPr algn="l" fontAlgn="base">
              <a:buFont typeface="Arial" panose="020B0604020202020204" pitchFamily="34" charset="0"/>
              <a:buChar char="•"/>
            </a:pPr>
            <a:endParaRPr lang="en-US" sz="1200" b="0" i="0" u="none" strike="noStrike" dirty="0">
              <a:solidFill>
                <a:srgbClr val="282828"/>
              </a:solidFill>
              <a:effectLst/>
              <a:cs typeface="Arial" panose="020B0604020202020204" pitchFamily="34" charset="0"/>
            </a:endParaRPr>
          </a:p>
          <a:p>
            <a:pPr algn="l" fontAlgn="base">
              <a:buFont typeface="Arial" panose="020B0604020202020204" pitchFamily="34" charset="0"/>
              <a:buChar char="•"/>
            </a:pPr>
            <a:r>
              <a:rPr lang="en-US" b="1" i="0" u="none" strike="noStrike" dirty="0">
                <a:solidFill>
                  <a:srgbClr val="202124"/>
                </a:solidFill>
                <a:effectLst/>
                <a:cs typeface="Arial" panose="020B0604020202020204" pitchFamily="34" charset="0"/>
              </a:rPr>
              <a:t>Cradle-to-cradle</a:t>
            </a:r>
            <a:r>
              <a:rPr lang="en-US" b="0" i="0" u="none" strike="noStrike" dirty="0">
                <a:solidFill>
                  <a:srgbClr val="202124"/>
                </a:solidFill>
                <a:effectLst/>
                <a:cs typeface="Arial" panose="020B0604020202020204" pitchFamily="34" charset="0"/>
              </a:rPr>
              <a:t> means </a:t>
            </a:r>
            <a:r>
              <a:rPr lang="en-US" b="0" i="0" u="none" strike="noStrike" dirty="0">
                <a:solidFill>
                  <a:srgbClr val="040C28"/>
                </a:solidFill>
                <a:effectLst/>
                <a:cs typeface="Arial" panose="020B0604020202020204" pitchFamily="34" charset="0"/>
              </a:rPr>
              <a:t>a product is designed so that its materials and components can be repurposed- or recycled indefinitely</a:t>
            </a:r>
            <a:r>
              <a:rPr lang="en-US" b="0" i="0" u="none" strike="noStrike" dirty="0">
                <a:solidFill>
                  <a:srgbClr val="202124"/>
                </a:solidFill>
                <a:effectLst/>
                <a:cs typeface="Arial" panose="020B0604020202020204" pitchFamily="34" charset="0"/>
              </a:rPr>
              <a:t>. This makes products “circular” and reduces their environmental impacts.</a:t>
            </a:r>
            <a:endParaRPr lang="en-US" sz="1200" b="0" i="0" u="none" strike="noStrike" dirty="0">
              <a:solidFill>
                <a:srgbClr val="282828"/>
              </a:solidFill>
              <a:effectLst/>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9BF1CE-3B0B-4067-BE2C-64D33F450C0E}" type="slidenum">
              <a:rPr lang="en-US" smtClean="0"/>
              <a:t>11</a:t>
            </a:fld>
            <a:endParaRPr lang="en-US" dirty="0"/>
          </a:p>
        </p:txBody>
      </p:sp>
    </p:spTree>
    <p:extLst>
      <p:ext uri="{BB962C8B-B14F-4D97-AF65-F5344CB8AC3E}">
        <p14:creationId xmlns:p14="http://schemas.microsoft.com/office/powerpoint/2010/main" val="7731751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we understand EPDs, why and how are they used to further sustainable design and construction objectives?</a:t>
            </a:r>
          </a:p>
        </p:txBody>
      </p:sp>
      <p:sp>
        <p:nvSpPr>
          <p:cNvPr id="4" name="Slide Number Placeholder 3"/>
          <p:cNvSpPr>
            <a:spLocks noGrp="1"/>
          </p:cNvSpPr>
          <p:nvPr>
            <p:ph type="sldNum" sz="quarter" idx="5"/>
          </p:nvPr>
        </p:nvSpPr>
        <p:spPr/>
        <p:txBody>
          <a:bodyPr/>
          <a:lstStyle/>
          <a:p>
            <a:fld id="{0A4F46E9-7904-4FD8-82D0-66E6EAD9EF88}" type="slidenum">
              <a:rPr lang="de-DE" smtClean="0"/>
              <a:t>12</a:t>
            </a:fld>
            <a:endParaRPr lang="de-DE" dirty="0"/>
          </a:p>
        </p:txBody>
      </p:sp>
    </p:spTree>
    <p:extLst>
      <p:ext uri="{BB962C8B-B14F-4D97-AF65-F5344CB8AC3E}">
        <p14:creationId xmlns:p14="http://schemas.microsoft.com/office/powerpoint/2010/main" val="2390046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ea typeface="+mj-ea"/>
                <a:cs typeface="+mj-cs"/>
                <a:sym typeface="Avenir Roman"/>
              </a:rPr>
              <a:t>National programs and federal, state, and municipal governments require EPDs to help verify overall sustainability claims. Some of these include the US Green Building Council’s LEED programs, BREEAM, </a:t>
            </a:r>
            <a:r>
              <a:rPr lang="en-US" b="0" i="0" dirty="0">
                <a:solidFill>
                  <a:srgbClr val="202122"/>
                </a:solidFill>
                <a:effectLst/>
              </a:rPr>
              <a:t>the world’s longest-established method of assessing, rating, and certifying buildings, Green Home Institute’s GreenStar program, </a:t>
            </a:r>
            <a:r>
              <a:rPr lang="en-US" b="0" i="0" dirty="0" err="1">
                <a:solidFill>
                  <a:srgbClr val="202122"/>
                </a:solidFill>
                <a:effectLst/>
              </a:rPr>
              <a:t>amd</a:t>
            </a:r>
            <a:r>
              <a:rPr lang="en-US" b="0" i="0" dirty="0">
                <a:solidFill>
                  <a:srgbClr val="202122"/>
                </a:solidFill>
                <a:effectLst/>
              </a:rPr>
              <a:t> the National Green Building Standard, to name a few.  (Sources:  /-/media/Files/</a:t>
            </a:r>
            <a:r>
              <a:rPr lang="en-US" b="0" i="0" dirty="0" err="1">
                <a:solidFill>
                  <a:srgbClr val="202122"/>
                </a:solidFill>
                <a:effectLst/>
              </a:rPr>
              <a:t>Standards_Development</a:t>
            </a:r>
            <a:r>
              <a:rPr lang="en-US" b="0" i="0" dirty="0">
                <a:solidFill>
                  <a:srgbClr val="202122"/>
                </a:solidFill>
                <a:effectLst/>
              </a:rPr>
              <a:t>/NGBS/2018_Development_Process/2020-NGBS-Second-Draft-Standard.pdf; </a:t>
            </a:r>
            <a:r>
              <a:rPr lang="en-US" b="0" i="0" dirty="0">
                <a:solidFill>
                  <a:srgbClr val="202122"/>
                </a:solidFill>
                <a:effectLst/>
                <a:hlinkClick r:id="rId3"/>
              </a:rPr>
              <a:t>https://ecochain.com/blog/environmental-product-declaration-epd-overview/#:~:text=EPDs%20are%20often%20required%20in,LEED%2C%20BREEAM%2C%20and%20GreenStar</a:t>
            </a:r>
            <a:r>
              <a:rPr lang="en-US" b="0" i="0" dirty="0">
                <a:solidFill>
                  <a:srgbClr val="202122"/>
                </a:solidFill>
                <a:effectLst/>
              </a:rPr>
              <a:t>.)</a:t>
            </a:r>
          </a:p>
          <a:p>
            <a:endParaRPr lang="en-US" b="0" i="0" dirty="0">
              <a:solidFill>
                <a:srgbClr val="202122"/>
              </a:solidFill>
              <a:effectLst/>
            </a:endParaRPr>
          </a:p>
          <a:p>
            <a:r>
              <a:rPr lang="en-US" dirty="0">
                <a:solidFill>
                  <a:srgbClr val="202122"/>
                </a:solidFill>
              </a:rPr>
              <a:t>“</a:t>
            </a:r>
            <a:r>
              <a:rPr lang="en-US" b="0" i="0" dirty="0">
                <a:solidFill>
                  <a:srgbClr val="202124"/>
                </a:solidFill>
                <a:effectLst/>
                <a:latin typeface="Google Sans"/>
              </a:rPr>
              <a:t>For example, in the U.S., some states (</a:t>
            </a:r>
            <a:r>
              <a:rPr lang="en-US" b="0" i="0" dirty="0">
                <a:solidFill>
                  <a:srgbClr val="040C28"/>
                </a:solidFill>
                <a:effectLst/>
                <a:latin typeface="Google Sans"/>
              </a:rPr>
              <a:t>California, Colorado, Oregon and Washington</a:t>
            </a:r>
            <a:r>
              <a:rPr lang="en-US" b="0" i="0" dirty="0">
                <a:solidFill>
                  <a:srgbClr val="202124"/>
                </a:solidFill>
                <a:effectLst/>
                <a:latin typeface="Google Sans"/>
              </a:rPr>
              <a:t>) all have carbon reduction policies that require EPDs for specific building products. Sustainable development goals – EPDs can help you measure the impact of your products and optimize your processes.” (Source: https://</a:t>
            </a:r>
            <a:r>
              <a:rPr lang="en-US" b="0" i="0" dirty="0" err="1">
                <a:solidFill>
                  <a:srgbClr val="202124"/>
                </a:solidFill>
                <a:effectLst/>
                <a:latin typeface="Google Sans"/>
              </a:rPr>
              <a:t>www.ul.com</a:t>
            </a:r>
            <a:r>
              <a:rPr lang="en-US" b="0" i="0" dirty="0">
                <a:solidFill>
                  <a:srgbClr val="202124"/>
                </a:solidFill>
                <a:effectLst/>
                <a:latin typeface="Google Sans"/>
              </a:rPr>
              <a:t>/services/environmental-product-declaration-certification#:~:text=For%20example%2C%20in%20the%20U.S.,products%20and%20optimize%20your%20processes.)</a:t>
            </a:r>
            <a:endParaRPr lang="en-US" b="0" i="0" dirty="0">
              <a:solidFill>
                <a:srgbClr val="202122"/>
              </a:solidFill>
              <a:effectLst/>
            </a:endParaRPr>
          </a:p>
          <a:p>
            <a:endParaRPr lang="en-US" dirty="0">
              <a:solidFill>
                <a:srgbClr val="202122"/>
              </a:solidFill>
              <a:ea typeface="+mj-ea"/>
              <a:cs typeface="+mj-cs"/>
              <a:sym typeface="Avenir Roman"/>
            </a:endParaRPr>
          </a:p>
          <a:p>
            <a:endParaRPr lang="en-US" dirty="0">
              <a:ea typeface="+mj-ea"/>
              <a:cs typeface="+mj-cs"/>
              <a:sym typeface="Avenir Roman"/>
            </a:endParaRPr>
          </a:p>
          <a:p>
            <a:endParaRPr lang="en-US" sz="4000" dirty="0">
              <a:latin typeface="+mj-lt"/>
              <a:ea typeface="+mj-ea"/>
              <a:cs typeface="+mj-cs"/>
              <a:sym typeface="Avenir Roman"/>
            </a:endParaRPr>
          </a:p>
        </p:txBody>
      </p:sp>
    </p:spTree>
    <p:extLst>
      <p:ext uri="{BB962C8B-B14F-4D97-AF65-F5344CB8AC3E}">
        <p14:creationId xmlns:p14="http://schemas.microsoft.com/office/powerpoint/2010/main" val="1056859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8038" y="342900"/>
            <a:ext cx="5241925" cy="3930650"/>
          </a:xfrm>
        </p:spPr>
      </p:sp>
      <p:sp>
        <p:nvSpPr>
          <p:cNvPr id="3" name="Notes Placeholder 2"/>
          <p:cNvSpPr>
            <a:spLocks noGrp="1"/>
          </p:cNvSpPr>
          <p:nvPr>
            <p:ph type="body" idx="1"/>
          </p:nvPr>
        </p:nvSpPr>
        <p:spPr>
          <a:xfrm>
            <a:off x="772160" y="4354830"/>
            <a:ext cx="5486400" cy="4215130"/>
          </a:xfrm>
        </p:spPr>
        <p:txBody>
          <a:bodyPr/>
          <a:lstStyle/>
          <a:p>
            <a:r>
              <a:rPr lang="en-US" dirty="0"/>
              <a:t>Furthermore, the federal government is funding programs to standardize EPDs further from a federal level and has included EPDs as a requirement in several federal certification and financing programs. These include the Buy Clean Initiative, the Investment Recovery Act of 2022, and more. </a:t>
            </a:r>
          </a:p>
          <a:p>
            <a:endParaRPr lang="en-US" dirty="0"/>
          </a:p>
          <a:p>
            <a:r>
              <a:rPr lang="en-US" dirty="0"/>
              <a:t>The Inflation Reduction Act of 2022 (IRA), Pub. L. No. 117-169, was enacted in August 2022. The IRA made the single largest investment in climate and energy in American history. The IRA will help the United States tackle the climate crisis, advance environmental justice, and secure our Nation’s position as a world leader in domestic clean energy manufacturing. This law puts the United States on a pathway to achieving the Administration’s climate goals, including a net zero operational emissions federal building portfolio by 2045, and net zero emissions procurement by 2050. IRA Section 60503 provides the U.S. General Services Administration (GSA) with $2.15 billion for the acquisition and installation of construction materials and products with substantially lower levels of embodied greenhouse gas emissions as compared to estimated industry averages, as determined by the Administrator of the U.S. Environmental Protection Agency (EPA). EPA issued its Interim Determination in December 2022. (https://</a:t>
            </a:r>
            <a:r>
              <a:rPr lang="en-US" dirty="0" err="1"/>
              <a:t>www.gsa.gov</a:t>
            </a:r>
            <a:r>
              <a:rPr lang="en-US" dirty="0"/>
              <a:t>/system/files/Interim%20IRA%20LEC%20Material%20Requirements%20-%20used%20in%20Pilot%20May%202023%2005162023.pdf)</a:t>
            </a:r>
          </a:p>
          <a:p>
            <a:endParaRPr lang="en-US" dirty="0"/>
          </a:p>
          <a:p>
            <a:r>
              <a:rPr lang="en-US" dirty="0"/>
              <a:t>The Buy Clean Initiative: </a:t>
            </a:r>
            <a:r>
              <a:rPr lang="en-US" b="0" i="0" dirty="0">
                <a:solidFill>
                  <a:srgbClr val="414141"/>
                </a:solidFill>
                <a:effectLst/>
              </a:rPr>
              <a:t>The Federal Government is the largest purchaser in the world, with annual purchasing power of over $630 billion. To harness that procurement power while making historic investments in the nation's infrastructure, President's Biden charged his Administration through his December 2021 </a:t>
            </a:r>
            <a:r>
              <a:rPr lang="en-US" b="0" i="0" u="sng" dirty="0">
                <a:solidFill>
                  <a:srgbClr val="0064BC"/>
                </a:solidFill>
                <a:effectLst/>
                <a:hlinkClick r:id="rId3"/>
              </a:rPr>
              <a:t>Federal Sustainability Plan</a:t>
            </a:r>
            <a:r>
              <a:rPr lang="en-US" b="0" i="0" dirty="0">
                <a:solidFill>
                  <a:srgbClr val="414141"/>
                </a:solidFill>
                <a:effectLst/>
              </a:rPr>
              <a:t> and </a:t>
            </a:r>
            <a:r>
              <a:rPr lang="en-US" b="0" i="0" u="sng" dirty="0">
                <a:solidFill>
                  <a:srgbClr val="0064BC"/>
                </a:solidFill>
                <a:effectLst/>
                <a:hlinkClick r:id="rId4"/>
              </a:rPr>
              <a:t>Executive Order 14057</a:t>
            </a:r>
            <a:r>
              <a:rPr lang="en-US" b="0" i="0" dirty="0">
                <a:solidFill>
                  <a:srgbClr val="414141"/>
                </a:solidFill>
                <a:effectLst/>
              </a:rPr>
              <a:t> to launch a Buy Clean Task Force and initiative to promote use of low-carbon, made in America construction materials. Through Buy Clean, the Federal Government is for the first time prioritizing the use of American-made, lower-carbon construction materials in Federal procurement and Federally-funded projects. This is advancing America's industrial capacity to supply the goods and materials of the future while growing good jobs for American workers. </a:t>
            </a:r>
            <a:r>
              <a:rPr lang="en-US" b="0" i="0" dirty="0">
                <a:solidFill>
                  <a:srgbClr val="202124"/>
                </a:solidFill>
                <a:effectLst/>
              </a:rPr>
              <a:t>Buy Clean is a procurement policy to promote the purchase of construction materials and products with lower embodied greenhouse gas (GHG) emissions, taking into account the life-cycle emissions associated with the production of those materials. (Source: </a:t>
            </a:r>
            <a:r>
              <a:rPr lang="en-US" b="0" i="0" dirty="0" err="1">
                <a:solidFill>
                  <a:srgbClr val="202124"/>
                </a:solidFill>
                <a:effectLst/>
              </a:rPr>
              <a:t>sustainability.gov</a:t>
            </a:r>
            <a:r>
              <a:rPr lang="en-US" b="0" i="0" dirty="0">
                <a:solidFill>
                  <a:srgbClr val="202124"/>
                </a:solidFill>
                <a:effectLst/>
              </a:rPr>
              <a:t>)</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14</a:t>
            </a:fld>
            <a:endParaRPr lang="de-DE" dirty="0"/>
          </a:p>
        </p:txBody>
      </p:sp>
    </p:spTree>
    <p:extLst>
      <p:ext uri="{BB962C8B-B14F-4D97-AF65-F5344CB8AC3E}">
        <p14:creationId xmlns:p14="http://schemas.microsoft.com/office/powerpoint/2010/main" val="24858224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ident Biden’s Housing Supply Action Plan intends to ease the burden of housing costs by boosting the supply of quality housing. The plan includes legislative and administrative actions that will help close America’s housing supply shortfall in 5 years, starting with the creation and preservation of hundreds of thousands of affordable housing units in the next three years. (Source: </a:t>
            </a:r>
            <a:r>
              <a:rPr lang="en-US" dirty="0">
                <a:hlinkClick r:id="rId3"/>
              </a:rPr>
              <a:t>https://www.whitehouse.gov/briefing-room/statements-releases/2022/05/16/president-biden-announces-new-actions-to-ease-the-burden-of-housing-costs/</a:t>
            </a:r>
            <a:r>
              <a:rPr lang="en-US" dirty="0"/>
              <a:t>)</a:t>
            </a:r>
          </a:p>
          <a:p>
            <a:endParaRPr lang="en-US" dirty="0"/>
          </a:p>
          <a:p>
            <a:r>
              <a:rPr lang="en-US" dirty="0"/>
              <a:t>These HUD-assisted developments are required to use materials with less Embodied Carbon and EPDs will play an integrated part in establishing compliance. (Source: https://www.hud.gov/sites/dfiles/Housing/documents/H-2023-05_GRRP_Notice_issued_2023-05-11.pdf)</a:t>
            </a:r>
          </a:p>
        </p:txBody>
      </p:sp>
      <p:sp>
        <p:nvSpPr>
          <p:cNvPr id="4" name="Slide Number Placeholder 3"/>
          <p:cNvSpPr>
            <a:spLocks noGrp="1"/>
          </p:cNvSpPr>
          <p:nvPr>
            <p:ph type="sldNum" sz="quarter" idx="5"/>
          </p:nvPr>
        </p:nvSpPr>
        <p:spPr/>
        <p:txBody>
          <a:bodyPr/>
          <a:lstStyle/>
          <a:p>
            <a:fld id="{0A4F46E9-7904-4FD8-82D0-66E6EAD9EF88}" type="slidenum">
              <a:rPr lang="de-DE" smtClean="0"/>
              <a:t>15</a:t>
            </a:fld>
            <a:endParaRPr lang="de-DE" dirty="0"/>
          </a:p>
        </p:txBody>
      </p:sp>
    </p:spTree>
    <p:extLst>
      <p:ext uri="{BB962C8B-B14F-4D97-AF65-F5344CB8AC3E}">
        <p14:creationId xmlns:p14="http://schemas.microsoft.com/office/powerpoint/2010/main" val="4294334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dirty="0">
                <a:effectLst/>
                <a:ea typeface="Calibri" panose="020F0502020204030204" pitchFamily="34" charset="0"/>
                <a:cs typeface="Times New Roman" panose="02020603050405020304" pitchFamily="18" charset="0"/>
              </a:rPr>
              <a:t>There are many tools to help achieve the goals of green building programs and federal, state, and local carbon requirements.  These include carbon calculators and plugins for design software that use EPDs to compare environmental impacts and report embodied carbon in designs. Examples are the EC3 software being integrated into existing programs like Revit, Procore, and Bentley. Other include carbon reporting features in BIMSmith, MasterSpec, and Speclink. </a:t>
            </a:r>
          </a:p>
          <a:p>
            <a:endParaRPr lang="en-US" dirty="0">
              <a:solidFill>
                <a:srgbClr val="1A1A1A"/>
              </a:solidFill>
              <a:latin typeface="Open Sans" panose="020B0606030504020204" pitchFamily="34" charset="0"/>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16</a:t>
            </a:fld>
            <a:endParaRPr lang="de-DE" dirty="0"/>
          </a:p>
        </p:txBody>
      </p:sp>
    </p:spTree>
    <p:extLst>
      <p:ext uri="{BB962C8B-B14F-4D97-AF65-F5344CB8AC3E}">
        <p14:creationId xmlns:p14="http://schemas.microsoft.com/office/powerpoint/2010/main" val="13715791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ove is a screenshot that shows the results of an EC3 query for insulation sorted by lowest embodied carbon. </a:t>
            </a:r>
          </a:p>
        </p:txBody>
      </p:sp>
      <p:sp>
        <p:nvSpPr>
          <p:cNvPr id="4" name="Slide Number Placeholder 3"/>
          <p:cNvSpPr>
            <a:spLocks noGrp="1"/>
          </p:cNvSpPr>
          <p:nvPr>
            <p:ph type="sldNum" sz="quarter" idx="5"/>
          </p:nvPr>
        </p:nvSpPr>
        <p:spPr/>
        <p:txBody>
          <a:bodyPr/>
          <a:lstStyle/>
          <a:p>
            <a:fld id="{0A4F46E9-7904-4FD8-82D0-66E6EAD9EF88}" type="slidenum">
              <a:rPr lang="de-DE" smtClean="0"/>
              <a:t>17</a:t>
            </a:fld>
            <a:endParaRPr lang="de-DE" dirty="0"/>
          </a:p>
        </p:txBody>
      </p:sp>
    </p:spTree>
    <p:extLst>
      <p:ext uri="{BB962C8B-B14F-4D97-AF65-F5344CB8AC3E}">
        <p14:creationId xmlns:p14="http://schemas.microsoft.com/office/powerpoint/2010/main" val="7988811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rning Objective 3: Understanding the environmental attributes and carbon emissions of GPS-insulated vinyl siding through available EPDs and LCAs. </a:t>
            </a:r>
          </a:p>
        </p:txBody>
      </p:sp>
      <p:sp>
        <p:nvSpPr>
          <p:cNvPr id="4" name="Slide Number Placeholder 3"/>
          <p:cNvSpPr>
            <a:spLocks noGrp="1"/>
          </p:cNvSpPr>
          <p:nvPr>
            <p:ph type="sldNum" sz="quarter" idx="5"/>
          </p:nvPr>
        </p:nvSpPr>
        <p:spPr/>
        <p:txBody>
          <a:bodyPr/>
          <a:lstStyle/>
          <a:p>
            <a:fld id="{0A4F46E9-7904-4FD8-82D0-66E6EAD9EF88}" type="slidenum">
              <a:rPr lang="de-DE" smtClean="0"/>
              <a:t>18</a:t>
            </a:fld>
            <a:endParaRPr lang="de-DE" dirty="0"/>
          </a:p>
        </p:txBody>
      </p:sp>
    </p:spTree>
    <p:extLst>
      <p:ext uri="{BB962C8B-B14F-4D97-AF65-F5344CB8AC3E}">
        <p14:creationId xmlns:p14="http://schemas.microsoft.com/office/powerpoint/2010/main" val="3753481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 </a:t>
            </a:r>
          </a:p>
          <a:p>
            <a:r>
              <a:rPr lang="en-US" sz="1200" kern="1200" dirty="0">
                <a:solidFill>
                  <a:schemeClr val="tx1"/>
                </a:solidFill>
                <a:effectLst/>
                <a:latin typeface="Arial" panose="020B0604020202020204" pitchFamily="34" charset="0"/>
                <a:ea typeface="+mn-ea"/>
                <a:cs typeface="Arial" panose="020B0604020202020204" pitchFamily="34" charset="0"/>
              </a:rPr>
              <a:t>Through LCA and product-specific EPDs, GPS has displayed lower embodied carbon than any other rigid insulation in North America, including EPS, XPS, and polyiso</a:t>
            </a:r>
            <a:r>
              <a:rPr lang="en-US" dirty="0">
                <a:latin typeface="Arial" panose="020B0604020202020204" pitchFamily="34" charset="0"/>
                <a:cs typeface="Arial" panose="020B0604020202020204" pitchFamily="34" charset="0"/>
              </a:rPr>
              <a:t>. </a:t>
            </a:r>
            <a:r>
              <a:rPr lang="en-US" sz="1200" kern="1200" dirty="0">
                <a:solidFill>
                  <a:schemeClr val="tx1"/>
                </a:solidFill>
                <a:effectLst/>
                <a:latin typeface="Arial" panose="020B0604020202020204" pitchFamily="34" charset="0"/>
                <a:ea typeface="+mn-ea"/>
                <a:cs typeface="Arial" panose="020B0604020202020204" pitchFamily="34" charset="0"/>
              </a:rPr>
              <a:t>It uses 30% less material mass than XPS for the same R-value. It also offers up to 25% more thermal resistance than EPS at the same thickness. Less </a:t>
            </a:r>
            <a:r>
              <a:rPr lang="en-US" dirty="0">
                <a:latin typeface="Arial" panose="020B0604020202020204" pitchFamily="34" charset="0"/>
                <a:cs typeface="Arial" panose="020B0604020202020204" pitchFamily="34" charset="0"/>
              </a:rPr>
              <a:t>density for more insulating value equals less material and a lighter carbon footprint. </a:t>
            </a:r>
            <a:endParaRPr lang="en-US" sz="1200" kern="1200" dirty="0">
              <a:solidFill>
                <a:schemeClr val="tx1"/>
              </a:solidFill>
              <a:effectLst/>
              <a:latin typeface="Arial" panose="020B0604020202020204" pitchFamily="34" charset="0"/>
              <a:ea typeface="+mn-ea"/>
              <a:cs typeface="Arial" panose="020B0604020202020204" pitchFamily="34" charset="0"/>
            </a:endParaRP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GPS is in a specification category termed “Graphite Polystyrene.” It adheres to the same ASTM standards of traditional EPS and XPS, the other main polystyrene-based foams (ASTM C578); however, its environmental performance characteristics are different enough that the main specification tools in the AEC Industry in North America (BSD Speclink and MasterSpec) have created an entirely new “Graphite Polystyrene” category to help product specifiers identify its attributes.</a:t>
            </a:r>
          </a:p>
          <a:p>
            <a:endParaRPr lang="en-US" sz="1200" kern="1200" dirty="0">
              <a:solidFill>
                <a:schemeClr val="tx1"/>
              </a:solidFill>
              <a:effectLst/>
              <a:latin typeface="Arial" panose="020B0604020202020204" pitchFamily="34" charset="0"/>
              <a:ea typeface="+mn-ea"/>
              <a:cs typeface="Arial" panose="020B0604020202020204" pitchFamily="34" charset="0"/>
            </a:endParaRPr>
          </a:p>
          <a:p>
            <a:r>
              <a:rPr lang="en-US" sz="1200" kern="1200" dirty="0">
                <a:solidFill>
                  <a:schemeClr val="tx1"/>
                </a:solidFill>
                <a:effectLst/>
                <a:latin typeface="Arial" panose="020B0604020202020204" pitchFamily="34" charset="0"/>
                <a:ea typeface="+mn-ea"/>
                <a:cs typeface="Arial" panose="020B0604020202020204" pitchFamily="34" charset="0"/>
              </a:rPr>
              <a:t>Source:  Information in this slide sourced from “Insulation Materials.” (n.d</a:t>
            </a:r>
            <a:r>
              <a:rPr lang="en-US" sz="1200" i="1" kern="1200" dirty="0">
                <a:solidFill>
                  <a:schemeClr val="tx1"/>
                </a:solidFill>
                <a:effectLst/>
                <a:latin typeface="Arial" panose="020B0604020202020204" pitchFamily="34" charset="0"/>
                <a:ea typeface="+mn-ea"/>
                <a:cs typeface="Arial" panose="020B0604020202020204" pitchFamily="34" charset="0"/>
              </a:rPr>
              <a:t>.). Energy Saver</a:t>
            </a:r>
            <a:r>
              <a:rPr lang="en-US" sz="1200" kern="1200" dirty="0">
                <a:solidFill>
                  <a:schemeClr val="tx1"/>
                </a:solidFill>
                <a:effectLst/>
                <a:latin typeface="Arial" panose="020B0604020202020204" pitchFamily="34" charset="0"/>
                <a:ea typeface="+mn-ea"/>
                <a:cs typeface="Arial" panose="020B0604020202020204" pitchFamily="34" charset="0"/>
              </a:rPr>
              <a:t>. Retrieved from https://www.energy.gov/energysaver/weatherize/insulation/insulation-materials</a:t>
            </a:r>
          </a:p>
          <a:p>
            <a:endParaRPr lang="en-US" dirty="0"/>
          </a:p>
        </p:txBody>
      </p:sp>
      <p:sp>
        <p:nvSpPr>
          <p:cNvPr id="4" name="Slide Number Placeholder 3"/>
          <p:cNvSpPr>
            <a:spLocks noGrp="1"/>
          </p:cNvSpPr>
          <p:nvPr>
            <p:ph type="sldNum" sz="quarter" idx="10"/>
          </p:nvPr>
        </p:nvSpPr>
        <p:spPr/>
        <p:txBody>
          <a:bodyPr/>
          <a:lstStyle/>
          <a:p>
            <a:fld id="{DB9BF1CE-3B0B-4067-BE2C-64D33F450C0E}" type="slidenum">
              <a:rPr lang="en-US" smtClean="0"/>
              <a:t>19</a:t>
            </a:fld>
            <a:endParaRPr lang="en-US" dirty="0"/>
          </a:p>
        </p:txBody>
      </p:sp>
    </p:spTree>
    <p:extLst>
      <p:ext uri="{BB962C8B-B14F-4D97-AF65-F5344CB8AC3E}">
        <p14:creationId xmlns:p14="http://schemas.microsoft.com/office/powerpoint/2010/main" val="2589530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This presentation is protected by U.S. and International copyright laws. Reproduction, distribution, display, and use of the presentation without written permission of BASF is prohibited.</a:t>
            </a:r>
          </a:p>
          <a:p>
            <a:endParaRPr lang="en-US" dirty="0"/>
          </a:p>
        </p:txBody>
      </p:sp>
      <p:sp>
        <p:nvSpPr>
          <p:cNvPr id="4" name="Slide Number Placeholder 3"/>
          <p:cNvSpPr>
            <a:spLocks noGrp="1"/>
          </p:cNvSpPr>
          <p:nvPr>
            <p:ph type="sldNum" sz="quarter" idx="10"/>
          </p:nvPr>
        </p:nvSpPr>
        <p:spPr/>
        <p:txBody>
          <a:bodyPr/>
          <a:lstStyle/>
          <a:p>
            <a:fld id="{DB9BF1CE-3B0B-4067-BE2C-64D33F450C0E}" type="slidenum">
              <a:rPr lang="en-US" smtClean="0"/>
              <a:t>2</a:t>
            </a:fld>
            <a:endParaRPr lang="en-US" dirty="0"/>
          </a:p>
        </p:txBody>
      </p:sp>
    </p:spTree>
    <p:extLst>
      <p:ext uri="{BB962C8B-B14F-4D97-AF65-F5344CB8AC3E}">
        <p14:creationId xmlns:p14="http://schemas.microsoft.com/office/powerpoint/2010/main" val="10314988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3761317"/>
          </a:xfrm>
        </p:spPr>
        <p:txBody>
          <a:bodyPr/>
          <a:lstStyle/>
          <a:p>
            <a:r>
              <a:rPr lang="en-US" dirty="0">
                <a:effectLst/>
              </a:rPr>
              <a:t>In 2021, KPMB Architects released the findings of a </a:t>
            </a:r>
            <a:r>
              <a:rPr lang="en-US" b="0" u="none" strike="noStrike" dirty="0">
                <a:solidFill>
                  <a:srgbClr val="181818"/>
                </a:solidFill>
                <a:effectLst/>
              </a:rPr>
              <a:t>study that used EPDs to compare embodied carbon values for nine commonly used </a:t>
            </a:r>
            <a:r>
              <a:rPr lang="en-US" b="0" i="0" u="none" strike="noStrike" dirty="0">
                <a:solidFill>
                  <a:srgbClr val="181818"/>
                </a:solidFill>
                <a:effectLst/>
              </a:rPr>
              <a:t>insulation types. </a:t>
            </a:r>
            <a:r>
              <a:rPr lang="en-US" dirty="0">
                <a:effectLst/>
              </a:rPr>
              <a:t>The scenario seen above was a</a:t>
            </a:r>
            <a:r>
              <a:rPr lang="en-US" dirty="0"/>
              <a:t>n </a:t>
            </a:r>
            <a:r>
              <a:rPr lang="en-US" b="0" dirty="0">
                <a:effectLst/>
              </a:rPr>
              <a:t>uninsulated bearing masonry house increasing the effective R-value from R4 to R24 heating with gas.</a:t>
            </a:r>
          </a:p>
          <a:p>
            <a:endParaRPr lang="en-US" dirty="0">
              <a:effectLst/>
            </a:endParaRPr>
          </a:p>
          <a:p>
            <a:r>
              <a:rPr lang="en-US" b="0" i="0" u="none" strike="noStrike" dirty="0">
                <a:solidFill>
                  <a:srgbClr val="181818"/>
                </a:solidFill>
                <a:effectLst/>
              </a:rPr>
              <a:t>The insulation products considered include two XPS brands, two next-gen XPS brands, Polyiso, Rockwool, Neopor GPS, fiberglass batts, and blown cellulose. Here is what they found:</a:t>
            </a:r>
            <a:r>
              <a:rPr lang="en-US" b="0" i="1" u="none" strike="noStrike" dirty="0">
                <a:solidFill>
                  <a:srgbClr val="181818"/>
                </a:solidFill>
              </a:rPr>
              <a:t> </a:t>
            </a:r>
            <a:endParaRPr lang="en-US" i="1" dirty="0">
              <a:solidFill>
                <a:srgbClr val="181818"/>
              </a:solidFill>
            </a:endParaRPr>
          </a:p>
          <a:p>
            <a:endParaRPr lang="en-US" b="0" dirty="0">
              <a:effectLst/>
            </a:endParaRPr>
          </a:p>
          <a:p>
            <a:r>
              <a:rPr lang="en-US" b="0" dirty="0">
                <a:effectLst/>
              </a:rPr>
              <a:t>This chart shows the 11 materials and the embodied carbon values for 1m</a:t>
            </a:r>
            <a:r>
              <a:rPr lang="en-US" b="0" baseline="30000" dirty="0">
                <a:effectLst/>
              </a:rPr>
              <a:t> 2 </a:t>
            </a:r>
            <a:r>
              <a:rPr lang="en-US" b="0" dirty="0">
                <a:effectLst/>
              </a:rPr>
              <a:t>of each for thicknesses delivering R1 up to R40. The study found:</a:t>
            </a:r>
          </a:p>
          <a:p>
            <a:endParaRPr lang="en-US" dirty="0"/>
          </a:p>
          <a:p>
            <a:r>
              <a:rPr lang="en-US" b="0" dirty="0">
                <a:effectLst/>
              </a:rPr>
              <a:t>“Blown cellulose insulation has the lowest GWP value of the group…That said, it needs to be contained in a wall cavity or similar container, and, therefore, might not be applicable in as many situations…Polyiso, EPS, Rockwool, and GPS are all…significantly lower than XPS…Rockwool and GPS in particular—offer considerable flexibility regarding suitable installations, along with quite good embodied carbon values.”</a:t>
            </a:r>
          </a:p>
          <a:p>
            <a:endParaRPr lang="en-US" b="0" dirty="0">
              <a:effectLst/>
            </a:endParaRPr>
          </a:p>
          <a:p>
            <a:r>
              <a:rPr lang="en-US" b="0" dirty="0">
                <a:effectLst/>
              </a:rPr>
              <a:t>(Source: Embodied Carbon Values in Common Insulation Materials https://www.kpmb.com/wp-content/uploads/2021/04/KPMB-LAB_Embodied-Carbon-in-Insulation.pdf_)</a:t>
            </a:r>
            <a:endParaRPr lang="en-US" dirty="0">
              <a:effectLst/>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0</a:t>
            </a:fld>
            <a:endParaRPr lang="de-DE" dirty="0"/>
          </a:p>
        </p:txBody>
      </p:sp>
    </p:spTree>
    <p:extLst>
      <p:ext uri="{BB962C8B-B14F-4D97-AF65-F5344CB8AC3E}">
        <p14:creationId xmlns:p14="http://schemas.microsoft.com/office/powerpoint/2010/main" val="307853781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62050"/>
            <a:ext cx="4089400" cy="3067050"/>
          </a:xfrm>
        </p:spPr>
      </p:sp>
      <p:sp>
        <p:nvSpPr>
          <p:cNvPr id="3" name="Notes Placeholder 2"/>
          <p:cNvSpPr>
            <a:spLocks noGrp="1"/>
          </p:cNvSpPr>
          <p:nvPr>
            <p:ph type="body" idx="1"/>
          </p:nvPr>
        </p:nvSpPr>
        <p:spPr/>
        <p:txBody>
          <a:bodyPr/>
          <a:lstStyle/>
          <a:p>
            <a:endParaRPr lang="en-US" dirty="0"/>
          </a:p>
          <a:p>
            <a:r>
              <a:rPr lang="en-US" dirty="0">
                <a:effectLst/>
              </a:rPr>
              <a:t>But what about the carbon payback period? How long does it take for the insulation material to save more operational carbon emissions than it took to make it? This chart shows the payback period for the home, again heated with natural gas. </a:t>
            </a:r>
          </a:p>
          <a:p>
            <a:endParaRPr lang="en-US" dirty="0"/>
          </a:p>
          <a:p>
            <a:r>
              <a:rPr lang="en-US" dirty="0">
                <a:effectLst/>
              </a:rPr>
              <a:t>Using a heat pump scenario, the study found, “</a:t>
            </a:r>
            <a:r>
              <a:rPr lang="en-US" b="0" dirty="0">
                <a:effectLst/>
              </a:rPr>
              <a:t>XPS is an outlier in this selection of materials, with a GWP 15 to 20 times greater than the other materials. In the electric heat pump scenario, it is not reasonable to expect the operational carbon savings ever to outweigh the embodied carbon of the material itself.” </a:t>
            </a:r>
            <a:endParaRPr lang="en-US" dirty="0">
              <a:effectLst/>
            </a:endParaRPr>
          </a:p>
          <a:p>
            <a:endParaRPr lang="en-US" dirty="0"/>
          </a:p>
          <a:p>
            <a:r>
              <a:rPr lang="en-US" dirty="0">
                <a:effectLst/>
              </a:rPr>
              <a:t>For Neopor GPS, the payback period was roughly 6 months, the study found.</a:t>
            </a:r>
          </a:p>
          <a:p>
            <a:endParaRPr lang="en-US" dirty="0"/>
          </a:p>
          <a:p>
            <a:endParaRPr lang="en-US" sz="4800" dirty="0"/>
          </a:p>
          <a:p>
            <a:endParaRPr lang="en-US" sz="4800" dirty="0"/>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1</a:t>
            </a:fld>
            <a:endParaRPr lang="de-DE" dirty="0"/>
          </a:p>
        </p:txBody>
      </p:sp>
    </p:spTree>
    <p:extLst>
      <p:ext uri="{BB962C8B-B14F-4D97-AF65-F5344CB8AC3E}">
        <p14:creationId xmlns:p14="http://schemas.microsoft.com/office/powerpoint/2010/main" val="26170996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let’s look at the analysis of embodied carbon of vinyl siding in comparison with alternatives, according to a recent industry-wide EPD published by the Vinyl Siding Institute. </a:t>
            </a:r>
          </a:p>
          <a:p>
            <a:endParaRPr lang="en-US" dirty="0"/>
          </a:p>
          <a:p>
            <a:r>
              <a:rPr lang="en-US" dirty="0"/>
              <a:t>The Global Warming Potential (GWP) of vinyl siding versus fiber cement and brick parallels the auto industry. The prevalence of emissions stickers has helped us make informed decisions when selecting climate-friendly automobiles. For the built environment, comparing data in tools like EPDs can also serve this function. (speak to the slide)</a:t>
            </a:r>
          </a:p>
        </p:txBody>
      </p:sp>
      <p:sp>
        <p:nvSpPr>
          <p:cNvPr id="4" name="Slide Number Placeholder 3"/>
          <p:cNvSpPr>
            <a:spLocks noGrp="1"/>
          </p:cNvSpPr>
          <p:nvPr>
            <p:ph type="sldNum" sz="quarter" idx="5"/>
          </p:nvPr>
        </p:nvSpPr>
        <p:spPr/>
        <p:txBody>
          <a:bodyPr/>
          <a:lstStyle/>
          <a:p>
            <a:fld id="{0A4F46E9-7904-4FD8-82D0-66E6EAD9EF88}" type="slidenum">
              <a:rPr lang="de-DE" smtClean="0"/>
              <a:t>22</a:t>
            </a:fld>
            <a:endParaRPr lang="de-DE" dirty="0"/>
          </a:p>
        </p:txBody>
      </p:sp>
    </p:spTree>
    <p:extLst>
      <p:ext uri="{BB962C8B-B14F-4D97-AF65-F5344CB8AC3E}">
        <p14:creationId xmlns:p14="http://schemas.microsoft.com/office/powerpoint/2010/main" val="20358157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ly, insulated vinyl siding with either EPS or GPS insulation is exceptionally resource-efficient and uses few ingredients in manufacturing.  It is also 100 % recyclable. (Speak to slide)</a:t>
            </a:r>
          </a:p>
        </p:txBody>
      </p:sp>
      <p:sp>
        <p:nvSpPr>
          <p:cNvPr id="4" name="Slide Number Placeholder 3"/>
          <p:cNvSpPr>
            <a:spLocks noGrp="1"/>
          </p:cNvSpPr>
          <p:nvPr>
            <p:ph type="sldNum" sz="quarter" idx="5"/>
          </p:nvPr>
        </p:nvSpPr>
        <p:spPr/>
        <p:txBody>
          <a:bodyPr/>
          <a:lstStyle/>
          <a:p>
            <a:fld id="{0A4F46E9-7904-4FD8-82D0-66E6EAD9EF88}" type="slidenum">
              <a:rPr lang="de-DE" smtClean="0"/>
              <a:t>23</a:t>
            </a:fld>
            <a:endParaRPr lang="de-DE" dirty="0"/>
          </a:p>
        </p:txBody>
      </p:sp>
    </p:spTree>
    <p:extLst>
      <p:ext uri="{BB962C8B-B14F-4D97-AF65-F5344CB8AC3E}">
        <p14:creationId xmlns:p14="http://schemas.microsoft.com/office/powerpoint/2010/main" val="3357319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6900" y="649288"/>
            <a:ext cx="3294063" cy="2470150"/>
          </a:xfrm>
        </p:spPr>
      </p:sp>
      <p:sp>
        <p:nvSpPr>
          <p:cNvPr id="3" name="Notes Placeholder 2"/>
          <p:cNvSpPr>
            <a:spLocks noGrp="1"/>
          </p:cNvSpPr>
          <p:nvPr>
            <p:ph type="body" idx="1"/>
          </p:nvPr>
        </p:nvSpPr>
        <p:spPr>
          <a:xfrm>
            <a:off x="685006" y="3233346"/>
            <a:ext cx="5486400" cy="5225246"/>
          </a:xfrm>
        </p:spPr>
        <p:txBody>
          <a:bodyPr>
            <a:normAutofit/>
          </a:bodyPr>
          <a:lstStyle/>
          <a:p>
            <a:pPr marL="114300">
              <a:spcBef>
                <a:spcPts val="935"/>
              </a:spcBef>
            </a:pPr>
            <a:r>
              <a:rPr lang="en-US" spc="-50" dirty="0">
                <a:ea typeface="Arial" panose="020B0604020202020204" pitchFamily="34" charset="0"/>
              </a:rPr>
              <a:t>Furthermore, a l</a:t>
            </a:r>
            <a:r>
              <a:rPr lang="en-US" spc="-50" dirty="0">
                <a:effectLst/>
                <a:ea typeface="Arial" panose="020B0604020202020204" pitchFamily="34" charset="0"/>
              </a:rPr>
              <a:t>ife cycle analysis conducted </a:t>
            </a:r>
            <a:r>
              <a:rPr lang="en-US" spc="-50" dirty="0">
                <a:ea typeface="Arial" panose="020B0604020202020204" pitchFamily="34" charset="0"/>
              </a:rPr>
              <a:t>on behalf of Progressive  Foam Technologies for insulated vinyl siding with EPS insulation provides further proof </a:t>
            </a:r>
            <a:r>
              <a:rPr lang="en-US" spc="-50" dirty="0">
                <a:effectLst/>
                <a:ea typeface="Arial" panose="020B0604020202020204" pitchFamily="34" charset="0"/>
              </a:rPr>
              <a:t>that </a:t>
            </a:r>
            <a:r>
              <a:rPr lang="en-US" dirty="0">
                <a:effectLst/>
                <a:ea typeface="Arial" panose="020B0604020202020204" pitchFamily="34" charset="0"/>
              </a:rPr>
              <a:t>insulated vinyl siding </a:t>
            </a:r>
            <a:r>
              <a:rPr lang="en-US" spc="-40" dirty="0">
                <a:effectLst/>
                <a:ea typeface="Arial" panose="020B0604020202020204" pitchFamily="34" charset="0"/>
              </a:rPr>
              <a:t>has</a:t>
            </a:r>
            <a:r>
              <a:rPr lang="en-US" spc="-95" dirty="0">
                <a:effectLst/>
                <a:ea typeface="Arial" panose="020B0604020202020204" pitchFamily="34" charset="0"/>
              </a:rPr>
              <a:t> </a:t>
            </a:r>
            <a:r>
              <a:rPr lang="en-US" spc="-40" dirty="0">
                <a:effectLst/>
                <a:ea typeface="Arial" panose="020B0604020202020204" pitchFamily="34" charset="0"/>
              </a:rPr>
              <a:t>far</a:t>
            </a:r>
            <a:r>
              <a:rPr lang="en-US" spc="-90" dirty="0">
                <a:effectLst/>
                <a:ea typeface="Arial" panose="020B0604020202020204" pitchFamily="34" charset="0"/>
              </a:rPr>
              <a:t> </a:t>
            </a:r>
            <a:r>
              <a:rPr lang="en-US" spc="-40" dirty="0">
                <a:effectLst/>
                <a:ea typeface="Arial" panose="020B0604020202020204" pitchFamily="34" charset="0"/>
              </a:rPr>
              <a:t>less</a:t>
            </a:r>
            <a:r>
              <a:rPr lang="en-US" spc="-90" dirty="0">
                <a:effectLst/>
                <a:ea typeface="Arial" panose="020B0604020202020204" pitchFamily="34" charset="0"/>
              </a:rPr>
              <a:t> </a:t>
            </a:r>
            <a:r>
              <a:rPr lang="en-US" spc="-20" dirty="0">
                <a:effectLst/>
                <a:ea typeface="Arial" panose="020B0604020202020204" pitchFamily="34" charset="0"/>
              </a:rPr>
              <a:t>embodied carbon than most other alternatives while reducing </a:t>
            </a:r>
            <a:r>
              <a:rPr lang="en-US" spc="-30" dirty="0">
                <a:effectLst/>
                <a:ea typeface="Arial" panose="020B0604020202020204" pitchFamily="34" charset="0"/>
              </a:rPr>
              <a:t>energy</a:t>
            </a:r>
            <a:r>
              <a:rPr lang="en-US" spc="-105" dirty="0">
                <a:effectLst/>
                <a:ea typeface="Arial" panose="020B0604020202020204" pitchFamily="34" charset="0"/>
              </a:rPr>
              <a:t> </a:t>
            </a:r>
            <a:r>
              <a:rPr lang="en-US" spc="-30" dirty="0">
                <a:effectLst/>
                <a:ea typeface="Arial" panose="020B0604020202020204" pitchFamily="34" charset="0"/>
              </a:rPr>
              <a:t>consumption</a:t>
            </a:r>
            <a:r>
              <a:rPr lang="en-US" spc="-100" dirty="0">
                <a:effectLst/>
                <a:ea typeface="Arial" panose="020B0604020202020204" pitchFamily="34" charset="0"/>
              </a:rPr>
              <a:t> </a:t>
            </a:r>
            <a:r>
              <a:rPr lang="en-US" spc="-30" dirty="0">
                <a:effectLst/>
                <a:ea typeface="Arial" panose="020B0604020202020204" pitchFamily="34" charset="0"/>
              </a:rPr>
              <a:t>and</a:t>
            </a:r>
            <a:r>
              <a:rPr lang="en-US" spc="-105" dirty="0">
                <a:effectLst/>
                <a:ea typeface="Arial" panose="020B0604020202020204" pitchFamily="34" charset="0"/>
              </a:rPr>
              <a:t> </a:t>
            </a:r>
            <a:r>
              <a:rPr lang="en-US" spc="-30" dirty="0">
                <a:effectLst/>
                <a:ea typeface="Arial" panose="020B0604020202020204" pitchFamily="34" charset="0"/>
              </a:rPr>
              <a:t>carbon emissions</a:t>
            </a:r>
            <a:r>
              <a:rPr lang="en-US" spc="-100" dirty="0">
                <a:effectLst/>
                <a:ea typeface="Arial" panose="020B0604020202020204" pitchFamily="34" charset="0"/>
              </a:rPr>
              <a:t> </a:t>
            </a:r>
            <a:r>
              <a:rPr lang="en-US" spc="-30" dirty="0">
                <a:effectLst/>
                <a:ea typeface="Arial" panose="020B0604020202020204" pitchFamily="34" charset="0"/>
              </a:rPr>
              <a:t>throughout</a:t>
            </a:r>
            <a:r>
              <a:rPr lang="en-US" spc="-100" dirty="0">
                <a:effectLst/>
                <a:ea typeface="Arial" panose="020B0604020202020204" pitchFamily="34" charset="0"/>
              </a:rPr>
              <a:t> </a:t>
            </a:r>
            <a:r>
              <a:rPr lang="en-US" spc="-30" dirty="0">
                <a:effectLst/>
                <a:ea typeface="Arial" panose="020B0604020202020204" pitchFamily="34" charset="0"/>
              </a:rPr>
              <a:t>its </a:t>
            </a:r>
            <a:r>
              <a:rPr lang="en-US" spc="-40" dirty="0">
                <a:effectLst/>
                <a:ea typeface="Arial" panose="020B0604020202020204" pitchFamily="34" charset="0"/>
              </a:rPr>
              <a:t>life</a:t>
            </a:r>
            <a:r>
              <a:rPr lang="en-US" spc="-40" dirty="0">
                <a:ea typeface="Arial" panose="020B0604020202020204" pitchFamily="34" charset="0"/>
              </a:rPr>
              <a:t>. </a:t>
            </a:r>
          </a:p>
          <a:p>
            <a:pPr marL="114300">
              <a:spcBef>
                <a:spcPts val="935"/>
              </a:spcBef>
            </a:pPr>
            <a:r>
              <a:rPr lang="en-US" dirty="0">
                <a:effectLst/>
              </a:rPr>
              <a:t>(Source:https://www.progressivefoam.com/wp-content/uploads/LCA-Summary-Sheet.pdf)</a:t>
            </a:r>
            <a:endParaRPr lang="en-US" dirty="0"/>
          </a:p>
          <a:p>
            <a:pPr marL="173038" marR="107315">
              <a:spcBef>
                <a:spcPts val="1830"/>
              </a:spcBef>
              <a:spcAft>
                <a:spcPts val="0"/>
              </a:spcAft>
            </a:pPr>
            <a:br>
              <a:rPr lang="en-US" sz="1300" i="0" u="none" strike="noStrike" dirty="0">
                <a:effectLst/>
              </a:rPr>
            </a:br>
            <a:endParaRPr lang="en-US" sz="1300" baseline="0" dirty="0"/>
          </a:p>
          <a:p>
            <a:pPr fontAlgn="t" hangingPunct="0"/>
            <a:endParaRPr lang="en-US" sz="1300" dirty="0"/>
          </a:p>
          <a:p>
            <a:endParaRPr lang="en-US"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24</a:t>
            </a:fld>
            <a:endParaRPr lang="en-US" dirty="0"/>
          </a:p>
        </p:txBody>
      </p:sp>
    </p:spTree>
    <p:extLst>
      <p:ext uri="{BB962C8B-B14F-4D97-AF65-F5344CB8AC3E}">
        <p14:creationId xmlns:p14="http://schemas.microsoft.com/office/powerpoint/2010/main" val="7826328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mn-lt"/>
              <a:ea typeface="+mj-ea"/>
              <a:cs typeface="+mj-cs"/>
              <a:sym typeface="Avenir Roman"/>
            </a:endParaRPr>
          </a:p>
          <a:p>
            <a:r>
              <a:rPr lang="en-US" dirty="0">
                <a:latin typeface="+mn-lt"/>
                <a:ea typeface="+mj-ea"/>
                <a:cs typeface="+mj-cs"/>
                <a:sym typeface="Avenir Roman"/>
              </a:rPr>
              <a:t>In conclusion, based on the information we covered in today’s nano course and the prerequisite course, “Not Your Grandmother’s Vinyl Siding: the</a:t>
            </a:r>
            <a:r>
              <a:rPr lang="en-US" sz="1200" dirty="0">
                <a:solidFill>
                  <a:srgbClr val="000000"/>
                </a:solidFill>
                <a:effectLst/>
                <a:ea typeface="Times New Roman" panose="02020603050405020304" pitchFamily="18" charset="0"/>
                <a:cs typeface="Times New Roman" panose="02020603050405020304" pitchFamily="18" charset="0"/>
              </a:rPr>
              <a:t> Advantages of Graphite Polystyrene Insulated Vinyl Siding,” we now know that GPS-insulated Vinyl siding has several environmental benefits, including its</a:t>
            </a:r>
          </a:p>
          <a:p>
            <a:pPr marL="171450" indent="-171450">
              <a:buFont typeface="Arial" panose="020B0604020202020204" pitchFamily="34" charset="0"/>
              <a:buChar char="•"/>
            </a:pPr>
            <a:r>
              <a:rPr lang="en-US" dirty="0">
                <a:solidFill>
                  <a:srgbClr val="000000"/>
                </a:solidFill>
                <a:ea typeface="Times New Roman" panose="02020603050405020304" pitchFamily="18" charset="0"/>
                <a:cs typeface="Times New Roman" panose="02020603050405020304" pitchFamily="18" charset="0"/>
              </a:rPr>
              <a:t>Providing continuous insulation and reducing energy loss/carbon demand and emissions</a:t>
            </a:r>
          </a:p>
          <a:p>
            <a:pPr marL="171450" indent="-171450">
              <a:buFont typeface="Arial" panose="020B0604020202020204" pitchFamily="34" charset="0"/>
              <a:buChar char="•"/>
            </a:pPr>
            <a:r>
              <a:rPr lang="en-US" dirty="0">
                <a:solidFill>
                  <a:srgbClr val="000000"/>
                </a:solidFill>
                <a:ea typeface="Times New Roman" panose="02020603050405020304" pitchFamily="18" charset="0"/>
                <a:cs typeface="Times New Roman" panose="02020603050405020304" pitchFamily="18" charset="0"/>
              </a:rPr>
              <a:t>lightweight properties which reduce the energy required for transportation</a:t>
            </a:r>
          </a:p>
          <a:p>
            <a:pPr marL="171450" indent="-171450">
              <a:buFont typeface="Arial" panose="020B0604020202020204" pitchFamily="34" charset="0"/>
              <a:buChar char="•"/>
            </a:pPr>
            <a:r>
              <a:rPr lang="en-US" dirty="0">
                <a:solidFill>
                  <a:srgbClr val="000000"/>
                </a:solidFill>
                <a:ea typeface="Times New Roman" panose="02020603050405020304" pitchFamily="18" charset="0"/>
                <a:cs typeface="Times New Roman" panose="02020603050405020304" pitchFamily="18" charset="0"/>
              </a:rPr>
              <a:t>low global warming potential, low embodied energy, and recyclability </a:t>
            </a:r>
          </a:p>
          <a:p>
            <a:pPr marL="171450" indent="-171450">
              <a:buFont typeface="Arial" panose="020B0604020202020204" pitchFamily="34" charset="0"/>
              <a:buChar char="•"/>
            </a:pPr>
            <a:r>
              <a:rPr lang="en-US" dirty="0">
                <a:solidFill>
                  <a:srgbClr val="000000"/>
                </a:solidFill>
                <a:ea typeface="Times New Roman" panose="02020603050405020304" pitchFamily="18" charset="0"/>
                <a:cs typeface="Times New Roman" panose="02020603050405020304" pitchFamily="18" charset="0"/>
              </a:rPr>
              <a:t>A shorter carbon payback period than most other insulation alternatives</a:t>
            </a:r>
          </a:p>
          <a:p>
            <a:pPr marL="171450" indent="-171450">
              <a:buFont typeface="Arial" panose="020B0604020202020204" pitchFamily="34" charset="0"/>
              <a:buChar char="•"/>
            </a:pPr>
            <a:r>
              <a:rPr lang="en-US" dirty="0">
                <a:solidFill>
                  <a:srgbClr val="000000"/>
                </a:solidFill>
                <a:ea typeface="Times New Roman" panose="02020603050405020304" pitchFamily="18" charset="0"/>
                <a:cs typeface="Times New Roman" panose="02020603050405020304" pitchFamily="18" charset="0"/>
              </a:rPr>
              <a:t>Long life span, reduced maintenance, and resiliency, which also contribute to reducing environmental lifecycle  impacts </a:t>
            </a:r>
          </a:p>
          <a:p>
            <a:pPr marL="171450" indent="-171450">
              <a:buFont typeface="Arial" panose="020B0604020202020204" pitchFamily="34" charset="0"/>
              <a:buChar char="•"/>
            </a:pPr>
            <a:r>
              <a:rPr lang="en-US" dirty="0">
                <a:solidFill>
                  <a:srgbClr val="000000"/>
                </a:solidFill>
                <a:ea typeface="Times New Roman" panose="02020603050405020304" pitchFamily="18" charset="0"/>
                <a:cs typeface="Times New Roman" panose="02020603050405020304" pitchFamily="18" charset="0"/>
              </a:rPr>
              <a:t>Reduces energy and emissions during its lifetime. </a:t>
            </a:r>
          </a:p>
          <a:p>
            <a:endParaRPr lang="en-US" dirty="0">
              <a:solidFill>
                <a:srgbClr val="000000"/>
              </a:solidFill>
              <a:ea typeface="Times New Roman" panose="02020603050405020304" pitchFamily="18" charset="0"/>
              <a:cs typeface="Times New Roman" panose="02020603050405020304" pitchFamily="18" charset="0"/>
            </a:endParaRPr>
          </a:p>
          <a:p>
            <a:endParaRPr lang="en-US" dirty="0">
              <a:solidFill>
                <a:srgbClr val="000000"/>
              </a:solidFill>
              <a:ea typeface="Times New Roman" panose="02020603050405020304" pitchFamily="18" charset="0"/>
              <a:cs typeface="Times New Roman" panose="02020603050405020304" pitchFamily="18" charset="0"/>
            </a:endParaRPr>
          </a:p>
          <a:p>
            <a:endParaRPr lang="en-US" dirty="0">
              <a:solidFill>
                <a:srgbClr val="000000"/>
              </a:solidFill>
              <a:ea typeface="Times New Roman" panose="02020603050405020304" pitchFamily="18" charset="0"/>
              <a:cs typeface="Times New Roman" panose="02020603050405020304" pitchFamily="18" charset="0"/>
            </a:endParaRPr>
          </a:p>
          <a:p>
            <a:endParaRPr lang="en-US" sz="1200" dirty="0">
              <a:solidFill>
                <a:srgbClr val="000000"/>
              </a:solidFill>
              <a:effectLst/>
              <a:ea typeface="Times New Roman" panose="02020603050405020304" pitchFamily="18" charset="0"/>
              <a:cs typeface="Times New Roman" panose="02020603050405020304" pitchFamily="18" charset="0"/>
            </a:endParaRPr>
          </a:p>
          <a:p>
            <a:endParaRPr lang="en-US" sz="1200" dirty="0">
              <a:solidFill>
                <a:srgbClr val="000000"/>
              </a:solidFill>
              <a:effectLst/>
              <a:ea typeface="Times New Roman" panose="02020603050405020304" pitchFamily="18" charset="0"/>
              <a:cs typeface="Times New Roman" panose="02020603050405020304" pitchFamily="18" charset="0"/>
            </a:endParaRPr>
          </a:p>
          <a:p>
            <a:endParaRPr lang="en-US" sz="4000" dirty="0">
              <a:latin typeface="+mj-lt"/>
              <a:ea typeface="+mj-ea"/>
              <a:cs typeface="+mj-cs"/>
              <a:sym typeface="Avenir Roman"/>
            </a:endParaRPr>
          </a:p>
        </p:txBody>
      </p:sp>
    </p:spTree>
    <p:extLst>
      <p:ext uri="{BB962C8B-B14F-4D97-AF65-F5344CB8AC3E}">
        <p14:creationId xmlns:p14="http://schemas.microsoft.com/office/powerpoint/2010/main" val="3711466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31272" y="4400550"/>
            <a:ext cx="5250873" cy="3600450"/>
          </a:xfrm>
        </p:spPr>
        <p:txBody>
          <a:bodyPr/>
          <a:lstStyle/>
          <a:p>
            <a:r>
              <a:rPr lang="en-US" dirty="0"/>
              <a:t>Now, it's time to test your knowledge. What is the difference between an Environmental Product Declaration and a Life Cycle Analysis? </a:t>
            </a:r>
            <a:br>
              <a:rPr lang="en-US" dirty="0"/>
            </a:br>
            <a:endParaRPr lang="en-US" dirty="0"/>
          </a:p>
          <a:p>
            <a:r>
              <a:rPr lang="en-US" dirty="0"/>
              <a:t>How does the embodied carbon of insulated vinyl siding compare with brick and fiber cement siding?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6</a:t>
            </a:fld>
            <a:endParaRPr lang="de-DE" dirty="0"/>
          </a:p>
        </p:txBody>
      </p:sp>
    </p:spTree>
    <p:extLst>
      <p:ext uri="{BB962C8B-B14F-4D97-AF65-F5344CB8AC3E}">
        <p14:creationId xmlns:p14="http://schemas.microsoft.com/office/powerpoint/2010/main" val="418325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31272" y="4400550"/>
            <a:ext cx="5250873" cy="3600450"/>
          </a:xfrm>
        </p:spPr>
        <p:txBody>
          <a:bodyPr/>
          <a:lstStyle/>
          <a:p>
            <a:r>
              <a:rPr lang="en-US" dirty="0"/>
              <a:t>Now, it's time to test your knowledge. What is the difference between an Environmental Product Declaration and a Life Cycle Analysis? </a:t>
            </a:r>
            <a:br>
              <a:rPr lang="en-US" dirty="0"/>
            </a:br>
            <a:endParaRPr lang="en-US" dirty="0"/>
          </a:p>
          <a:p>
            <a:r>
              <a:rPr lang="en-US" dirty="0"/>
              <a:t>How does the embodied carbon of insulated vinyl siding compare with brick and fiber cement siding?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7</a:t>
            </a:fld>
            <a:endParaRPr lang="de-DE" dirty="0"/>
          </a:p>
        </p:txBody>
      </p:sp>
    </p:spTree>
    <p:extLst>
      <p:ext uri="{BB962C8B-B14F-4D97-AF65-F5344CB8AC3E}">
        <p14:creationId xmlns:p14="http://schemas.microsoft.com/office/powerpoint/2010/main" val="31341263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31272" y="4400550"/>
            <a:ext cx="5250873" cy="3600450"/>
          </a:xfrm>
        </p:spPr>
        <p:txBody>
          <a:bodyPr/>
          <a:lstStyle/>
          <a:p>
            <a:r>
              <a:rPr lang="en-US" dirty="0"/>
              <a:t>Now, it's time to test your knowledge. What is the difference between an Environmental Product Declaration and a Life Cycle Analysis? </a:t>
            </a:r>
            <a:br>
              <a:rPr lang="en-US" dirty="0"/>
            </a:br>
            <a:endParaRPr lang="en-US" dirty="0"/>
          </a:p>
          <a:p>
            <a:r>
              <a:rPr lang="en-US" dirty="0"/>
              <a:t>How does the embodied carbon of insulated vinyl siding compare with brick and fiber cement siding?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8</a:t>
            </a:fld>
            <a:endParaRPr lang="de-DE" dirty="0"/>
          </a:p>
        </p:txBody>
      </p:sp>
    </p:spTree>
    <p:extLst>
      <p:ext uri="{BB962C8B-B14F-4D97-AF65-F5344CB8AC3E}">
        <p14:creationId xmlns:p14="http://schemas.microsoft.com/office/powerpoint/2010/main" val="5556288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31272" y="4400550"/>
            <a:ext cx="5250873" cy="3600450"/>
          </a:xfrm>
        </p:spPr>
        <p:txBody>
          <a:bodyPr/>
          <a:lstStyle/>
          <a:p>
            <a:r>
              <a:rPr lang="en-US" dirty="0"/>
              <a:t>Now, it's time to test your knowledge. What is the difference between an Environmental Product Declaration and a Life Cycle Analysis? </a:t>
            </a:r>
            <a:br>
              <a:rPr lang="en-US" dirty="0"/>
            </a:br>
            <a:endParaRPr lang="en-US" dirty="0"/>
          </a:p>
          <a:p>
            <a:r>
              <a:rPr lang="en-US" dirty="0"/>
              <a:t>How does the embodied carbon of insulated vinyl siding compare with brick and fiber cement siding?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9</a:t>
            </a:fld>
            <a:endParaRPr lang="de-DE" dirty="0"/>
          </a:p>
        </p:txBody>
      </p:sp>
    </p:spTree>
    <p:extLst>
      <p:ext uri="{BB962C8B-B14F-4D97-AF65-F5344CB8AC3E}">
        <p14:creationId xmlns:p14="http://schemas.microsoft.com/office/powerpoint/2010/main" val="113661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kern="1200" dirty="0">
                <a:solidFill>
                  <a:schemeClr val="tx1"/>
                </a:solidFill>
                <a:effectLst/>
                <a:latin typeface="Arial" panose="020B0604020202020204" pitchFamily="34" charset="0"/>
                <a:ea typeface="+mn-ea"/>
                <a:cs typeface="Arial" panose="020B0604020202020204" pitchFamily="34" charset="0"/>
              </a:rPr>
              <a:t>This learning program is registered with AIA CES for continuing professional education. As such, it does not include content that may be deemed or construed to be an approval or endorsement by the AIA of any material of construction or any method or manner of handling, using, distributing, or dealing in any material or product.</a:t>
            </a:r>
          </a:p>
          <a:p>
            <a:r>
              <a:rPr lang="en-US" kern="1200" dirty="0">
                <a:solidFill>
                  <a:schemeClr val="tx1"/>
                </a:solidFill>
                <a:effectLst/>
                <a:latin typeface="Arial" panose="020B0604020202020204" pitchFamily="34" charset="0"/>
                <a:ea typeface="+mn-ea"/>
                <a:cs typeface="Arial" panose="020B0604020202020204" pitchFamily="34" charset="0"/>
              </a:rPr>
              <a:t> </a:t>
            </a:r>
          </a:p>
        </p:txBody>
      </p:sp>
      <p:sp>
        <p:nvSpPr>
          <p:cNvPr id="4" name="Slide Number Placeholder 3"/>
          <p:cNvSpPr>
            <a:spLocks noGrp="1"/>
          </p:cNvSpPr>
          <p:nvPr>
            <p:ph type="sldNum" sz="quarter" idx="10"/>
          </p:nvPr>
        </p:nvSpPr>
        <p:spPr/>
        <p:txBody>
          <a:bodyPr/>
          <a:lstStyle/>
          <a:p>
            <a:fld id="{DB9BF1CE-3B0B-4067-BE2C-64D33F450C0E}" type="slidenum">
              <a:rPr lang="en-US" smtClean="0"/>
              <a:t>3</a:t>
            </a:fld>
            <a:endParaRPr lang="en-US" dirty="0"/>
          </a:p>
        </p:txBody>
      </p:sp>
    </p:spTree>
    <p:extLst>
      <p:ext uri="{BB962C8B-B14F-4D97-AF65-F5344CB8AC3E}">
        <p14:creationId xmlns:p14="http://schemas.microsoft.com/office/powerpoint/2010/main" val="30191966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d like to open the floor for questions and comments and also point you to these resources mentioned in today’s course. </a:t>
            </a:r>
          </a:p>
        </p:txBody>
      </p:sp>
      <p:sp>
        <p:nvSpPr>
          <p:cNvPr id="4" name="Slide Number Placeholder 3"/>
          <p:cNvSpPr>
            <a:spLocks noGrp="1"/>
          </p:cNvSpPr>
          <p:nvPr>
            <p:ph type="sldNum" sz="quarter" idx="5"/>
          </p:nvPr>
        </p:nvSpPr>
        <p:spPr/>
        <p:txBody>
          <a:bodyPr/>
          <a:lstStyle/>
          <a:p>
            <a:fld id="{0A4F46E9-7904-4FD8-82D0-66E6EAD9EF88}" type="slidenum">
              <a:rPr lang="de-DE" smtClean="0"/>
              <a:t>30</a:t>
            </a:fld>
            <a:endParaRPr lang="de-DE" dirty="0"/>
          </a:p>
        </p:txBody>
      </p:sp>
    </p:spTree>
    <p:extLst>
      <p:ext uri="{BB962C8B-B14F-4D97-AF65-F5344CB8AC3E}">
        <p14:creationId xmlns:p14="http://schemas.microsoft.com/office/powerpoint/2010/main" val="16540270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lso, please check out the other courses in this series, including GPS Insulated Vinyl Siding and Energy Code Compliance, GPS Vinyl Siding, and the 2022 Inflation Reduction Act. You can find information about these courses and more at </a:t>
            </a:r>
            <a:r>
              <a:rPr lang="en-US" dirty="0">
                <a:hlinkClick r:id="rId3"/>
              </a:rPr>
              <a:t>https://neopor.basf.us/resources/courses</a:t>
            </a:r>
            <a:r>
              <a:rPr lang="en-US" dirty="0"/>
              <a:t> </a:t>
            </a:r>
          </a:p>
        </p:txBody>
      </p:sp>
      <p:sp>
        <p:nvSpPr>
          <p:cNvPr id="4" name="Slide Number Placeholder 3"/>
          <p:cNvSpPr>
            <a:spLocks noGrp="1"/>
          </p:cNvSpPr>
          <p:nvPr>
            <p:ph type="sldNum" sz="quarter" idx="5"/>
          </p:nvPr>
        </p:nvSpPr>
        <p:spPr/>
        <p:txBody>
          <a:bodyPr/>
          <a:lstStyle/>
          <a:p>
            <a:fld id="{0A4F46E9-7904-4FD8-82D0-66E6EAD9EF88}" type="slidenum">
              <a:rPr lang="de-DE" smtClean="0"/>
              <a:t>31</a:t>
            </a:fld>
            <a:endParaRPr lang="de-DE" dirty="0"/>
          </a:p>
        </p:txBody>
      </p:sp>
    </p:spTree>
    <p:extLst>
      <p:ext uri="{BB962C8B-B14F-4D97-AF65-F5344CB8AC3E}">
        <p14:creationId xmlns:p14="http://schemas.microsoft.com/office/powerpoint/2010/main" val="34839405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attending today’s course. Before you leave, please make sure that you have included your contact information and AIA member number on the sign-in sheet. We will register your attendance with AIA. All attendees will be receiving an electronic certificate of completion.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32</a:t>
            </a:fld>
            <a:endParaRPr lang="de-DE" dirty="0"/>
          </a:p>
        </p:txBody>
      </p:sp>
    </p:spTree>
    <p:extLst>
      <p:ext uri="{BB962C8B-B14F-4D97-AF65-F5344CB8AC3E}">
        <p14:creationId xmlns:p14="http://schemas.microsoft.com/office/powerpoint/2010/main" val="41547811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33</a:t>
            </a:fld>
            <a:endParaRPr lang="de-DE" dirty="0"/>
          </a:p>
        </p:txBody>
      </p:sp>
    </p:spTree>
    <p:extLst>
      <p:ext uri="{BB962C8B-B14F-4D97-AF65-F5344CB8AC3E}">
        <p14:creationId xmlns:p14="http://schemas.microsoft.com/office/powerpoint/2010/main" val="1347360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a:xfrm>
            <a:off x="786538" y="4264146"/>
            <a:ext cx="5486400" cy="4650460"/>
          </a:xfrm>
        </p:spPr>
        <p:txBody>
          <a:bodyPr/>
          <a:lstStyle/>
          <a:p>
            <a:pPr marL="0" marR="0">
              <a:spcBef>
                <a:spcPts val="0"/>
              </a:spcBef>
              <a:spcAft>
                <a:spcPts val="3000"/>
              </a:spcAft>
            </a:pPr>
            <a:r>
              <a:rPr lang="en-US" sz="1200" dirty="0">
                <a:solidFill>
                  <a:srgbClr val="000000"/>
                </a:solidFill>
                <a:effectLst/>
                <a:ea typeface="Times New Roman" panose="02020603050405020304" pitchFamily="18" charset="0"/>
                <a:cs typeface="Times New Roman" panose="02020603050405020304" pitchFamily="18" charset="0"/>
              </a:rPr>
              <a:t>The course focuses on using Environmental Product Declarations (EPDs) to aid in decisions regarding sustainable design. Using GPS-insulated vinyl siding as an example, participants will gain insights into how these EPDs offer a comprehensive perspective that recognizes the lifecycle impacts of all component systems. By leveraging this knowledge, designers can enhance environmental performance by improving energy efficiency and sustainability. </a:t>
            </a:r>
          </a:p>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DB9BF1CE-3B0B-4067-BE2C-64D33F450C0E}" type="slidenum">
              <a:rPr lang="en-US" smtClean="0"/>
              <a:t>4</a:t>
            </a:fld>
            <a:endParaRPr lang="en-US" dirty="0"/>
          </a:p>
        </p:txBody>
      </p:sp>
    </p:spTree>
    <p:extLst>
      <p:ext uri="{BB962C8B-B14F-4D97-AF65-F5344CB8AC3E}">
        <p14:creationId xmlns:p14="http://schemas.microsoft.com/office/powerpoint/2010/main" val="451753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03479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In the previous program, “Not Your Grandmother’s Vinyl Siding,” we learned about the many advantages of graphite polystyrene insulated vinyl siding as a high-performance building system.  We will refer back to several of these </a:t>
            </a:r>
            <a:r>
              <a:rPr lang="en-US" dirty="0">
                <a:latin typeface="Calibri" panose="020F0502020204030204" pitchFamily="34" charset="0"/>
                <a:ea typeface="Calibri" panose="020F0502020204030204" pitchFamily="34" charset="0"/>
                <a:cs typeface="Times New Roman" panose="02020603050405020304" pitchFamily="18" charset="0"/>
              </a:rPr>
              <a:t>today but will focus on the environmental benefits and embodied carbon of GPS-insulated vinyl siding as described in Life Cycle Analysis (LCAs)  and Environmental Product Declarations (EP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5</a:t>
            </a:fld>
            <a:endParaRPr lang="de-DE" dirty="0"/>
          </a:p>
        </p:txBody>
      </p:sp>
    </p:spTree>
    <p:extLst>
      <p:ext uri="{BB962C8B-B14F-4D97-AF65-F5344CB8AC3E}">
        <p14:creationId xmlns:p14="http://schemas.microsoft.com/office/powerpoint/2010/main" val="1745463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263" lvl="0">
              <a:lnSpc>
                <a:spcPct val="100000"/>
              </a:lnSpc>
            </a:pPr>
            <a:r>
              <a:rPr lang="en-US" dirty="0"/>
              <a:t>After this half-hour course, attendees will be able to </a:t>
            </a:r>
          </a:p>
          <a:p>
            <a:pPr marL="457200" lvl="0">
              <a:lnSpc>
                <a:spcPct val="100000"/>
              </a:lnSpc>
            </a:pPr>
            <a:endParaRPr lang="en-US" dirty="0"/>
          </a:p>
          <a:p>
            <a:pPr marL="171450" lvl="0" indent="-171450">
              <a:lnSpc>
                <a:spcPct val="100000"/>
              </a:lnSpc>
              <a:buFont typeface="Arial" panose="020B0604020202020204" pitchFamily="34" charset="0"/>
              <a:buChar char="•"/>
            </a:pPr>
            <a:r>
              <a:rPr lang="en-US" dirty="0"/>
              <a:t>Describe the function of both Environmental Product Declarations (EPDs) and Lifecycle Analysis (LCA) in sustainable design. </a:t>
            </a:r>
          </a:p>
          <a:p>
            <a:pPr marL="457200" lvl="0">
              <a:lnSpc>
                <a:spcPct val="100000"/>
              </a:lnSpc>
            </a:pPr>
            <a:endParaRPr lang="en-US" dirty="0"/>
          </a:p>
          <a:p>
            <a:pPr marL="171450" lvl="0" indent="-171450">
              <a:lnSpc>
                <a:spcPct val="100000"/>
              </a:lnSpc>
              <a:buFont typeface="Arial" panose="020B0604020202020204" pitchFamily="34" charset="0"/>
              <a:buChar char="•"/>
            </a:pPr>
            <a:r>
              <a:rPr lang="en-US" dirty="0"/>
              <a:t>Explain why and how EPDs are used to measure and track carbon in public projects, green building programs, carbon calculators, and design software. </a:t>
            </a:r>
          </a:p>
          <a:p>
            <a:pPr lvl="0">
              <a:lnSpc>
                <a:spcPct val="100000"/>
              </a:lnSpc>
            </a:pPr>
            <a:endParaRPr lang="en-US" dirty="0"/>
          </a:p>
          <a:p>
            <a:pPr marL="171450" lvl="0" indent="-171450">
              <a:lnSpc>
                <a:spcPct val="100000"/>
              </a:lnSpc>
              <a:buFont typeface="Arial" panose="020B0604020202020204" pitchFamily="34" charset="0"/>
              <a:buChar char="•"/>
            </a:pPr>
            <a:r>
              <a:rPr lang="en-US" dirty="0"/>
              <a:t>Use EPDs to determine the environmental benefits of the GPS-insulated vinyl siding system.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6</a:t>
            </a:fld>
            <a:endParaRPr lang="de-DE" dirty="0"/>
          </a:p>
        </p:txBody>
      </p:sp>
    </p:spTree>
    <p:extLst>
      <p:ext uri="{BB962C8B-B14F-4D97-AF65-F5344CB8AC3E}">
        <p14:creationId xmlns:p14="http://schemas.microsoft.com/office/powerpoint/2010/main" val="990518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panose="020F0502020204030204" pitchFamily="34" charset="0"/>
                <a:ea typeface="Calibri" panose="020F0502020204030204" pitchFamily="34" charset="0"/>
                <a:cs typeface="Times New Roman" panose="02020603050405020304" pitchFamily="18" charset="0"/>
              </a:rPr>
              <a:t>W</a:t>
            </a:r>
            <a:r>
              <a:rPr lang="en-US" dirty="0">
                <a:effectLst/>
                <a:latin typeface="Calibri" panose="020F0502020204030204" pitchFamily="34" charset="0"/>
                <a:ea typeface="Calibri" panose="020F0502020204030204" pitchFamily="34" charset="0"/>
                <a:cs typeface="Times New Roman" panose="02020603050405020304" pitchFamily="18" charset="0"/>
              </a:rPr>
              <a:t>hat are </a:t>
            </a:r>
            <a:r>
              <a:rPr lang="en-US" dirty="0">
                <a:latin typeface="Calibri" panose="020F0502020204030204" pitchFamily="34" charset="0"/>
                <a:ea typeface="Calibri" panose="020F0502020204030204" pitchFamily="34" charset="0"/>
                <a:cs typeface="Times New Roman" panose="02020603050405020304" pitchFamily="18" charset="0"/>
              </a:rPr>
              <a:t>E</a:t>
            </a:r>
            <a:r>
              <a:rPr lang="en-US" dirty="0">
                <a:effectLst/>
                <a:latin typeface="Calibri" panose="020F0502020204030204" pitchFamily="34" charset="0"/>
                <a:ea typeface="Calibri" panose="020F0502020204030204" pitchFamily="34" charset="0"/>
                <a:cs typeface="Times New Roman" panose="02020603050405020304" pitchFamily="18" charset="0"/>
              </a:rPr>
              <a:t>nvironmental </a:t>
            </a:r>
            <a:r>
              <a:rPr lang="en-US" dirty="0">
                <a:latin typeface="Calibri" panose="020F0502020204030204" pitchFamily="34" charset="0"/>
                <a:ea typeface="Calibri" panose="020F0502020204030204" pitchFamily="34" charset="0"/>
                <a:cs typeface="Times New Roman" panose="02020603050405020304" pitchFamily="18" charset="0"/>
              </a:rPr>
              <a:t>P</a:t>
            </a:r>
            <a:r>
              <a:rPr lang="en-US" dirty="0">
                <a:effectLst/>
                <a:latin typeface="Calibri" panose="020F0502020204030204" pitchFamily="34" charset="0"/>
                <a:ea typeface="Calibri" panose="020F0502020204030204" pitchFamily="34" charset="0"/>
                <a:cs typeface="Times New Roman" panose="02020603050405020304" pitchFamily="18" charset="0"/>
              </a:rPr>
              <a:t>roduct </a:t>
            </a:r>
            <a:r>
              <a:rPr lang="en-US" dirty="0">
                <a:latin typeface="Calibri" panose="020F0502020204030204" pitchFamily="34" charset="0"/>
                <a:ea typeface="Calibri" panose="020F0502020204030204" pitchFamily="34" charset="0"/>
                <a:cs typeface="Times New Roman" panose="02020603050405020304" pitchFamily="18" charset="0"/>
              </a:rPr>
              <a:t>D</a:t>
            </a:r>
            <a:r>
              <a:rPr lang="en-US" dirty="0">
                <a:effectLst/>
                <a:latin typeface="Calibri" panose="020F0502020204030204" pitchFamily="34" charset="0"/>
                <a:ea typeface="Calibri" panose="020F0502020204030204" pitchFamily="34" charset="0"/>
                <a:cs typeface="Times New Roman" panose="02020603050405020304" pitchFamily="18" charset="0"/>
              </a:rPr>
              <a:t>eclarations (EPDs) and Life Cycle Analysis (LCAs)? Why and how do we use them as sustainability decision-making tools?</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7</a:t>
            </a:fld>
            <a:endParaRPr lang="de-DE" dirty="0"/>
          </a:p>
        </p:txBody>
      </p:sp>
    </p:spTree>
    <p:extLst>
      <p:ext uri="{BB962C8B-B14F-4D97-AF65-F5344CB8AC3E}">
        <p14:creationId xmlns:p14="http://schemas.microsoft.com/office/powerpoint/2010/main" val="3448799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7292" y="4400549"/>
            <a:ext cx="4775931" cy="5730214"/>
          </a:xfrm>
        </p:spPr>
        <p:txBody>
          <a:bodyPr/>
          <a:lstStyle/>
          <a:p>
            <a:pPr marL="0" marR="0">
              <a:spcBef>
                <a:spcPts val="0"/>
              </a:spcBef>
              <a:spcAft>
                <a:spcPts val="0"/>
              </a:spcAft>
            </a:pPr>
            <a:r>
              <a:rPr lang="en-US" dirty="0">
                <a:effectLst/>
                <a:latin typeface="Calibri" panose="020F0502020204030204" pitchFamily="34" charset="0"/>
                <a:ea typeface="Calibri" panose="020F0502020204030204" pitchFamily="34" charset="0"/>
                <a:cs typeface="Times New Roman" panose="02020603050405020304" pitchFamily="18" charset="0"/>
              </a:rPr>
              <a:t>Environmental product declarations (EPDs) provide quantified environmental data using predetermined parameters to assess environmental impacts consistently. They were first used in Sweden in 1997 and function as short-form Life Cycle Analysis.  There are many types of EPDs. </a:t>
            </a:r>
          </a:p>
          <a:p>
            <a:pPr marL="0" marR="0">
              <a:spcBef>
                <a:spcPts val="0"/>
              </a:spcBef>
              <a:spcAft>
                <a:spcPts val="0"/>
              </a:spcAft>
            </a:pPr>
            <a:r>
              <a:rPr lang="en-US" dirty="0">
                <a:effectLst/>
                <a:latin typeface="Calibri" panose="020F0502020204030204" pitchFamily="34" charset="0"/>
                <a:ea typeface="Calibri" panose="020F0502020204030204" pitchFamily="34" charset="0"/>
                <a:cs typeface="Times New Roman" panose="02020603050405020304" pitchFamily="18" charset="0"/>
              </a:rPr>
              <a:t>Examples include: </a:t>
            </a:r>
          </a:p>
          <a:p>
            <a:pPr marL="342900" marR="0" lvl="0" indent="-342900">
              <a:spcBef>
                <a:spcPts val="0"/>
              </a:spcBef>
              <a:spcAft>
                <a:spcPts val="0"/>
              </a:spcAft>
              <a:buFont typeface="Arial" panose="020B0604020202020204" pitchFamily="34" charset="0"/>
              <a:buChar char="•"/>
              <a:tabLst>
                <a:tab pos="457200" algn="l"/>
              </a:tabLst>
            </a:pPr>
            <a:r>
              <a:rPr lang="en-US" b="1" dirty="0">
                <a:effectLst/>
                <a:latin typeface="Calibri" panose="020F0502020204030204" pitchFamily="34" charset="0"/>
                <a:ea typeface="Calibri" panose="020F0502020204030204" pitchFamily="34" charset="0"/>
                <a:cs typeface="Times New Roman" panose="02020603050405020304" pitchFamily="18" charset="0"/>
              </a:rPr>
              <a:t>Industry-wide EPDs </a:t>
            </a:r>
            <a:r>
              <a:rPr lang="en-US" dirty="0">
                <a:effectLst/>
                <a:latin typeface="Calibri" panose="020F0502020204030204" pitchFamily="34" charset="0"/>
                <a:ea typeface="Calibri" panose="020F0502020204030204" pitchFamily="34" charset="0"/>
                <a:cs typeface="Times New Roman" panose="02020603050405020304" pitchFamily="18" charset="0"/>
              </a:rPr>
              <a:t>represent typical manufacturing impacts for a range of products for a group of manufacturers.  Industry-wide EPDs provide the least specific data on a product’s embodied carbon footprint and cannot be used to compare products. Still, they help understand the typical impact of a product.</a:t>
            </a:r>
          </a:p>
          <a:p>
            <a:pPr marL="342900" marR="0" lvl="0" indent="-342900">
              <a:spcBef>
                <a:spcPts val="0"/>
              </a:spcBef>
              <a:spcAft>
                <a:spcPts val="0"/>
              </a:spcAft>
              <a:buFont typeface="Arial" panose="020B0604020202020204" pitchFamily="34" charset="0"/>
              <a:buChar char="•"/>
              <a:tabLst>
                <a:tab pos="457200" algn="l"/>
              </a:tabLst>
            </a:pPr>
            <a:r>
              <a:rPr lang="en-US" b="1" dirty="0">
                <a:effectLst/>
                <a:latin typeface="Calibri" panose="020F0502020204030204" pitchFamily="34" charset="0"/>
                <a:ea typeface="Calibri" panose="020F0502020204030204" pitchFamily="34" charset="0"/>
                <a:cs typeface="Times New Roman" panose="02020603050405020304" pitchFamily="18" charset="0"/>
              </a:rPr>
              <a:t>Product-specific EPDs </a:t>
            </a:r>
            <a:r>
              <a:rPr lang="en-US" dirty="0">
                <a:effectLst/>
                <a:latin typeface="Calibri" panose="020F0502020204030204" pitchFamily="34" charset="0"/>
                <a:ea typeface="Calibri" panose="020F0502020204030204" pitchFamily="34" charset="0"/>
                <a:cs typeface="Times New Roman" panose="02020603050405020304" pitchFamily="18" charset="0"/>
              </a:rPr>
              <a:t>represent the impacts of a specific product and manufacturer across multiple facilities.</a:t>
            </a:r>
          </a:p>
          <a:p>
            <a:pPr marL="342900" marR="0" lvl="0" indent="-342900">
              <a:spcBef>
                <a:spcPts val="0"/>
              </a:spcBef>
              <a:spcAft>
                <a:spcPts val="0"/>
              </a:spcAft>
              <a:buFont typeface="Arial" panose="020B0604020202020204" pitchFamily="34" charset="0"/>
              <a:buChar char="•"/>
              <a:tabLst>
                <a:tab pos="457200" algn="l"/>
              </a:tabLst>
            </a:pPr>
            <a:r>
              <a:rPr lang="en-US" b="1" dirty="0">
                <a:effectLst/>
                <a:latin typeface="Calibri" panose="020F0502020204030204" pitchFamily="34" charset="0"/>
                <a:ea typeface="Calibri" panose="020F0502020204030204" pitchFamily="34" charset="0"/>
                <a:cs typeface="Times New Roman" panose="02020603050405020304" pitchFamily="18" charset="0"/>
              </a:rPr>
              <a:t>Supply chain–specific EPDs </a:t>
            </a:r>
            <a:r>
              <a:rPr lang="en-US" dirty="0">
                <a:effectLst/>
                <a:latin typeface="Calibri" panose="020F0502020204030204" pitchFamily="34" charset="0"/>
                <a:ea typeface="Calibri" panose="020F0502020204030204" pitchFamily="34" charset="0"/>
                <a:cs typeface="Times New Roman" panose="02020603050405020304" pitchFamily="18" charset="0"/>
              </a:rPr>
              <a:t>use supply chain–specific data in the LCA to model the impacts of critical processes upstream in a product’s supply chain.</a:t>
            </a:r>
          </a:p>
          <a:p>
            <a:pPr marL="342900" marR="0" lvl="0" indent="-342900">
              <a:spcBef>
                <a:spcPts val="0"/>
              </a:spcBef>
              <a:spcAft>
                <a:spcPts val="0"/>
              </a:spcAft>
              <a:buFont typeface="Arial" panose="020B0604020202020204" pitchFamily="34" charset="0"/>
              <a:buChar char="•"/>
              <a:tabLst>
                <a:tab pos="457200" algn="l"/>
              </a:tabLst>
            </a:pPr>
            <a:r>
              <a:rPr lang="en-US" b="1" dirty="0">
                <a:effectLst/>
                <a:latin typeface="Calibri" panose="020F0502020204030204" pitchFamily="34" charset="0"/>
                <a:ea typeface="Calibri" panose="020F0502020204030204" pitchFamily="34" charset="0"/>
                <a:cs typeface="Times New Roman" panose="02020603050405020304" pitchFamily="18" charset="0"/>
              </a:rPr>
              <a:t>Facility-specific EPDs </a:t>
            </a:r>
            <a:r>
              <a:rPr lang="en-US" dirty="0">
                <a:effectLst/>
                <a:latin typeface="Calibri" panose="020F0502020204030204" pitchFamily="34" charset="0"/>
                <a:ea typeface="Calibri" panose="020F0502020204030204" pitchFamily="34" charset="0"/>
                <a:cs typeface="Times New Roman" panose="02020603050405020304" pitchFamily="18" charset="0"/>
              </a:rPr>
              <a:t>were introduced by the Buy Clean California Act in 2017. The California Department of General Services (DGS) defines a facility-specific EPD as a product-specific EPD in which the environmental impacts can be attributed to a single manufacturer and manufacturing facility. </a:t>
            </a:r>
          </a:p>
          <a:p>
            <a:pPr marL="0" marR="0">
              <a:spcBef>
                <a:spcPts val="0"/>
              </a:spcBef>
              <a:spcAft>
                <a:spcPts val="0"/>
              </a:spcAft>
            </a:pPr>
            <a:r>
              <a:rPr lang="en-US" dirty="0">
                <a:effectLst/>
                <a:latin typeface="Calibri" panose="020F0502020204030204" pitchFamily="34" charset="0"/>
                <a:ea typeface="Calibri" panose="020F0502020204030204" pitchFamily="34" charset="0"/>
                <a:cs typeface="Times New Roman" panose="02020603050405020304" pitchFamily="18" charset="0"/>
              </a:rPr>
              <a:t> Source: https://carbonleadershipforum.org/epd-requirements-in-procurement-policies/</a:t>
            </a:r>
          </a:p>
        </p:txBody>
      </p:sp>
      <p:sp>
        <p:nvSpPr>
          <p:cNvPr id="4" name="Slide Number Placeholder 3"/>
          <p:cNvSpPr>
            <a:spLocks noGrp="1"/>
          </p:cNvSpPr>
          <p:nvPr>
            <p:ph type="sldNum" sz="quarter" idx="5"/>
          </p:nvPr>
        </p:nvSpPr>
        <p:spPr/>
        <p:txBody>
          <a:bodyPr/>
          <a:lstStyle/>
          <a:p>
            <a:fld id="{0A4F46E9-7904-4FD8-82D0-66E6EAD9EF88}" type="slidenum">
              <a:rPr lang="de-DE" smtClean="0"/>
              <a:t>8</a:t>
            </a:fld>
            <a:endParaRPr lang="de-DE" dirty="0"/>
          </a:p>
        </p:txBody>
      </p:sp>
    </p:spTree>
    <p:extLst>
      <p:ext uri="{BB962C8B-B14F-4D97-AF65-F5344CB8AC3E}">
        <p14:creationId xmlns:p14="http://schemas.microsoft.com/office/powerpoint/2010/main" val="3800824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latin typeface="Calibri" panose="020F0502020204030204" pitchFamily="34" charset="0"/>
                <a:ea typeface="Calibri" panose="020F0502020204030204" pitchFamily="34" charset="0"/>
                <a:cs typeface="Times New Roman" panose="02020603050405020304" pitchFamily="18" charset="0"/>
              </a:rPr>
              <a:t>Here are two examples. The one on the left is an EPD from BASF that summarizes the life cycle assessment of NEOPOR brand graphite polystyrene insulation.  This is an example of a product-specific EPD. </a:t>
            </a:r>
          </a:p>
          <a:p>
            <a:endParaRPr lang="en-US" dirty="0">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Times New Roman" panose="02020603050405020304" pitchFamily="18" charset="0"/>
              </a:rPr>
              <a:t>The EPD on the right is an example of an industry-specific EPD. This one is for insulated vinyl siding. It was produced on behalf of the institute. It is common for trade associations like the Vinyl Siding Institute to fund and make available EPDs for the industry.</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9</a:t>
            </a:fld>
            <a:endParaRPr lang="de-DE" dirty="0"/>
          </a:p>
        </p:txBody>
      </p:sp>
    </p:spTree>
    <p:extLst>
      <p:ext uri="{BB962C8B-B14F-4D97-AF65-F5344CB8AC3E}">
        <p14:creationId xmlns:p14="http://schemas.microsoft.com/office/powerpoint/2010/main" val="13502796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fld id="{65010B03-D230-4701-9F37-B6F131066B93}" type="datetime1">
              <a:rPr lang="de-DE" smtClean="0"/>
              <a:t>19.12.23</a:t>
            </a:fld>
            <a:endParaRPr lang="de-DE" dirty="0"/>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de-DE" dirty="0"/>
              <a:t>| Optional</a:t>
            </a:r>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1960643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159258" y="1965579"/>
            <a:ext cx="4350639" cy="3906012"/>
          </a:xfrm>
          <a:prstGeom prst="rect">
            <a:avLst/>
          </a:prstGeo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4624197" y="1965579"/>
            <a:ext cx="4350639" cy="3906012"/>
          </a:xfrm>
          <a:prstGeom prst="rect">
            <a:avLst/>
          </a:prstGeo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a:xfrm>
            <a:off x="1081756" y="6422400"/>
            <a:ext cx="5940000" cy="169200"/>
          </a:xfrm>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a:defRPr/>
            </a:pPr>
            <a:fld id="{C0E33138-ACF4-4AA0-BCDB-3A9F2443B8D9}"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custDataLst>
      <p:tags r:id="rId1"/>
    </p:custDataLst>
    <p:extLst>
      <p:ext uri="{BB962C8B-B14F-4D97-AF65-F5344CB8AC3E}">
        <p14:creationId xmlns:p14="http://schemas.microsoft.com/office/powerpoint/2010/main" val="3125970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r>
              <a:rPr lang="de-DE" dirty="0">
                <a:solidFill>
                  <a:srgbClr val="000000"/>
                </a:solidFil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custDataLst>
      <p:tags r:id="rId1"/>
    </p:custDataLst>
    <p:extLst>
      <p:ext uri="{BB962C8B-B14F-4D97-AF65-F5344CB8AC3E}">
        <p14:creationId xmlns:p14="http://schemas.microsoft.com/office/powerpoint/2010/main" val="238334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159259" y="1965579"/>
            <a:ext cx="8815483" cy="3906012"/>
          </a:xfrm>
          <a:prstGeom prst="rect">
            <a:avLst/>
          </a:prstGeom>
        </p:spPr>
        <p:txBody>
          <a:bodyPr/>
          <a:lstStyle/>
          <a:p>
            <a:r>
              <a:rPr lang="en-US" dirty="0"/>
              <a:t>Click icon to add table</a:t>
            </a:r>
            <a:endParaRPr lang="de-DE" dirty="0"/>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a:defRPr/>
            </a:pPr>
            <a:r>
              <a:rPr lang="de-DE" dirty="0">
                <a:solidFill>
                  <a:srgbClr val="000000"/>
                </a:solidFill>
              </a:rPr>
              <a:t>| Optional</a:t>
            </a: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a:defRPr/>
            </a:pPr>
            <a:fld id="{EA828A8A-A900-4765-BE54-8F6A7A59D33A}" type="datetime1">
              <a:rPr lang="de-DE" smtClean="0">
                <a:solidFill>
                  <a:srgbClr val="000000"/>
                </a:solidFill>
              </a:rPr>
              <a:pPr>
                <a:defRPr/>
              </a:pPr>
              <a:t>19.12.23</a:t>
            </a:fld>
            <a:endParaRPr lang="de-DE" dirty="0">
              <a:solidFill>
                <a:srgbClr val="000000"/>
              </a:solidFil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35427638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4624196" y="1965579"/>
            <a:ext cx="4350639" cy="3906012"/>
          </a:xfrm>
          <a:prstGeom prst="rect">
            <a:avLst/>
          </a:prstGeom>
        </p:spPr>
        <p:txBody>
          <a:bodyPr/>
          <a:lstStyle/>
          <a:p>
            <a:r>
              <a:rPr lang="en-US" dirty="0"/>
              <a:t>Click icon to add chart</a:t>
            </a:r>
            <a:endParaRPr lang="de-DE" dirty="0"/>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a:defRPr/>
            </a:pPr>
            <a:fld id="{C0F31EDC-29F8-4FDE-A096-1A8A5A19E28A}"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36915577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159257" y="1965579"/>
            <a:ext cx="4350639" cy="3906012"/>
          </a:xfrm>
          <a:prstGeom prst="rect">
            <a:avLst/>
          </a:prstGeom>
        </p:spPr>
        <p:txBody>
          <a:bodyPr/>
          <a:lstStyle/>
          <a:p>
            <a:r>
              <a:rPr lang="en-US" dirty="0"/>
              <a:t>Click icon to add chart</a:t>
            </a:r>
            <a:endParaRPr lang="de-DE" dirty="0"/>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a:defRPr/>
            </a:pPr>
            <a:fld id="{CAFAA40D-DF08-40E5-9F38-B7BC60CAE2A9}"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3731023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159259" y="1965579"/>
            <a:ext cx="8815483" cy="3906012"/>
          </a:xfrm>
          <a:prstGeom prst="rect">
            <a:avLst/>
          </a:prstGeom>
        </p:spPr>
        <p:txBody>
          <a:bodyPr/>
          <a:lstStyle/>
          <a:p>
            <a:r>
              <a:rPr lang="en-US" dirty="0"/>
              <a:t>Click icon to add SmartArt graphic</a:t>
            </a:r>
            <a:endParaRPr lang="de-DE" dirty="0"/>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a:defRPr/>
            </a:pPr>
            <a:r>
              <a:rPr lang="de-DE" dirty="0">
                <a:solidFill>
                  <a:srgbClr val="000000"/>
                </a:solidFill>
              </a:rPr>
              <a:t>| Optional</a:t>
            </a: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a:defRPr/>
            </a:pPr>
            <a:fld id="{F458B07D-B1E9-499A-953F-B5C3869B8479}" type="datetime1">
              <a:rPr lang="de-DE" smtClean="0">
                <a:solidFill>
                  <a:srgbClr val="000000"/>
                </a:solidFill>
              </a:rPr>
              <a:pPr>
                <a:defRPr/>
              </a:pPr>
              <a:t>19.12.23</a:t>
            </a:fld>
            <a:endParaRPr lang="de-DE" dirty="0">
              <a:solidFill>
                <a:srgbClr val="000000"/>
              </a:solidFil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32725967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159259" y="1965579"/>
            <a:ext cx="8815483" cy="3906012"/>
          </a:xfrm>
          <a:prstGeom prst="rect">
            <a:avLst/>
          </a:prstGeom>
        </p:spPr>
        <p:txBody>
          <a:bodyPr/>
          <a:lstStyle/>
          <a:p>
            <a:r>
              <a:rPr lang="en-US" dirty="0"/>
              <a:t>Click icon to add chart</a:t>
            </a:r>
            <a:endParaRPr lang="de-DE" dirty="0"/>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a:defRPr/>
            </a:pPr>
            <a:r>
              <a:rPr lang="de-DE" dirty="0">
                <a:solidFill>
                  <a:srgbClr val="000000"/>
                </a:solidFill>
              </a:rPr>
              <a:t>| Optional</a:t>
            </a: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a:defRPr/>
            </a:pPr>
            <a:fld id="{1550AD6C-84CC-4A5E-86D3-FC3E11464A67}" type="datetime1">
              <a:rPr lang="de-DE" smtClean="0">
                <a:solidFill>
                  <a:srgbClr val="000000"/>
                </a:solidFill>
              </a:rPr>
              <a:pPr>
                <a:defRPr/>
              </a:pPr>
              <a:t>19.12.23</a:t>
            </a:fld>
            <a:endParaRPr lang="de-DE" dirty="0">
              <a:solidFill>
                <a:srgbClr val="000000"/>
              </a:solidFil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20845235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4624196" y="1965579"/>
            <a:ext cx="4350639" cy="3906012"/>
          </a:xfrm>
          <a:prstGeom prst="rect">
            <a:avLst/>
          </a:prstGeom>
        </p:spPr>
        <p:txBody>
          <a:bodyPr/>
          <a:lstStyle/>
          <a:p>
            <a:r>
              <a:rPr lang="en-US" dirty="0"/>
              <a:t>Click icon to add online image</a:t>
            </a:r>
            <a:endParaRPr lang="de-DE" dirty="0"/>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a:defRPr/>
            </a:pPr>
            <a:fld id="{1B60F8D1-6788-4364-B4B7-3C4167F5F146}"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17435657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159257" y="1965579"/>
            <a:ext cx="4350639" cy="3906012"/>
          </a:xfrm>
          <a:prstGeom prst="rect">
            <a:avLst/>
          </a:prstGeom>
        </p:spPr>
        <p:txBody>
          <a:bodyPr/>
          <a:lstStyle/>
          <a:p>
            <a:r>
              <a:rPr lang="en-US" dirty="0"/>
              <a:t>Click icon to add online image</a:t>
            </a:r>
            <a:endParaRPr lang="de-DE" dirty="0"/>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a:defRPr/>
            </a:pPr>
            <a:fld id="{A59EF9D1-1D6E-44E8-A7EE-5EC5CD3E4ADE}"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1466504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a:defRPr/>
            </a:pPr>
            <a:r>
              <a:rPr lang="de-DE" dirty="0">
                <a:solidFill>
                  <a:srgbClr val="000000"/>
                </a:solidFill>
              </a:rPr>
              <a:t>| Optional</a:t>
            </a: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a:defRPr/>
            </a:pPr>
            <a:fld id="{2E752000-55A0-4553-BBD4-CFFEEB173D51}" type="datetime1">
              <a:rPr lang="de-DE" smtClean="0">
                <a:solidFill>
                  <a:srgbClr val="000000"/>
                </a:solidFill>
              </a:rPr>
              <a:pPr>
                <a:defRPr/>
              </a:pPr>
              <a:t>19.12.23</a:t>
            </a:fld>
            <a:endParaRPr lang="de-DE" dirty="0">
              <a:solidFill>
                <a:srgbClr val="000000"/>
              </a:solidFil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4151114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51C1DB1-8CBD-4173-A65C-817F017B5AF2}" type="datetimeFigureOut">
              <a:rPr lang="en-US" smtClean="0"/>
              <a:t>12/19/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E047A04-264D-4655-9010-B1F6988209CB}" type="slidenum">
              <a:rPr lang="en-US" smtClean="0"/>
              <a:t>‹#›</a:t>
            </a:fld>
            <a:endParaRPr lang="en-US" dirty="0"/>
          </a:p>
        </p:txBody>
      </p:sp>
    </p:spTree>
    <p:extLst>
      <p:ext uri="{BB962C8B-B14F-4D97-AF65-F5344CB8AC3E}">
        <p14:creationId xmlns:p14="http://schemas.microsoft.com/office/powerpoint/2010/main" val="3846934810"/>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a:defRPr/>
            </a:pPr>
            <a:r>
              <a:rPr lang="de-DE" dirty="0">
                <a:solidFill>
                  <a:srgbClr val="000000"/>
                </a:solidFill>
              </a:rPr>
              <a:t>| Optional</a:t>
            </a: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a:defRPr/>
            </a:pPr>
            <a:fld id="{5D8B96A5-E1D7-454B-BFDF-E714B7BF1A08}" type="datetime1">
              <a:rPr lang="de-DE" smtClean="0">
                <a:solidFill>
                  <a:srgbClr val="000000"/>
                </a:solidFill>
              </a:rPr>
              <a:pPr>
                <a:defRPr/>
              </a:pPr>
              <a:t>19.12.23</a:t>
            </a:fld>
            <a:endParaRPr lang="de-DE" dirty="0">
              <a:solidFill>
                <a:srgbClr val="000000"/>
              </a:solidFil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24719534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a:defRPr/>
            </a:pPr>
            <a:fld id="{1F8FEEF0-7EAC-424F-8BDF-62D59EECC53C}"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28508892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a:defRPr/>
            </a:pPr>
            <a:fld id="{E41390A8-E354-4A21-9BC8-95E43BAF20C3}"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20492868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159258" y="431801"/>
            <a:ext cx="8815483" cy="54403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a:defRPr/>
            </a:pPr>
            <a:r>
              <a:rPr lang="de-DE" dirty="0">
                <a:solidFill>
                  <a:srgbClr val="000000"/>
                </a:solidFill>
              </a:rPr>
              <a:t>| Optional</a:t>
            </a: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a:defRPr/>
            </a:pPr>
            <a:fld id="{10CBFDB8-0ABA-4B5D-BB97-3F0F3764BA33}" type="datetime1">
              <a:rPr lang="de-DE" smtClean="0">
                <a:solidFill>
                  <a:srgbClr val="000000"/>
                </a:solidFill>
              </a:rPr>
              <a:pPr>
                <a:defRPr/>
              </a:pPr>
              <a:t>19.12.23</a:t>
            </a:fld>
            <a:endParaRPr lang="de-DE" dirty="0">
              <a:solidFill>
                <a:srgbClr val="000000"/>
              </a:solidFil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13047979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159259" y="1965579"/>
            <a:ext cx="8815483"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a:defRPr/>
            </a:pPr>
            <a:r>
              <a:rPr lang="de-DE" dirty="0">
                <a:solidFill>
                  <a:srgbClr val="000000"/>
                </a:solidFill>
              </a:rPr>
              <a:t>| Optional</a:t>
            </a: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a:defRPr/>
            </a:pPr>
            <a:fld id="{D9681CFB-FE37-42E9-972B-7EE5E370AF99}" type="datetime1">
              <a:rPr lang="de-DE" smtClean="0">
                <a:solidFill>
                  <a:srgbClr val="000000"/>
                </a:solidFill>
              </a:rPr>
              <a:pPr>
                <a:defRPr/>
              </a:pPr>
              <a:t>19.12.23</a:t>
            </a:fld>
            <a:endParaRPr lang="de-DE" dirty="0">
              <a:solidFill>
                <a:srgbClr val="000000"/>
              </a:solidFil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4740148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4624196" y="1965579"/>
            <a:ext cx="4350639" cy="3906012"/>
          </a:xfrm>
          <a:prstGeom prst="rect">
            <a:avLst/>
          </a:prstGeom>
        </p:spPr>
        <p:txBody>
          <a:bodyPr/>
          <a:lstStyle/>
          <a:p>
            <a:r>
              <a:rPr lang="en-US" dirty="0"/>
              <a:t>Click icon to add media</a:t>
            </a:r>
            <a:endParaRPr lang="de-DE" dirty="0"/>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a:defRPr/>
            </a:pPr>
            <a:fld id="{2E9AD9D9-F800-41FA-B6C4-3F1480191AA9}"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32093731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159257" y="1965579"/>
            <a:ext cx="4350639" cy="3906012"/>
          </a:xfrm>
          <a:prstGeom prst="rect">
            <a:avLst/>
          </a:prstGeom>
        </p:spPr>
        <p:txBody>
          <a:bodyPr/>
          <a:lstStyle/>
          <a:p>
            <a:r>
              <a:rPr lang="en-US" dirty="0"/>
              <a:t>Click icon to add media</a:t>
            </a:r>
            <a:endParaRPr lang="de-DE" dirty="0"/>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a:defRPr/>
            </a:pPr>
            <a:fld id="{8192C09A-BEA4-4445-B8BC-DEC53FCADD78}"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32193331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159258" y="1965579"/>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a:defRPr/>
            </a:pPr>
            <a:fld id="{13B742DD-8773-4E2A-9EEB-2648EDB33355}"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29333811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159258" y="1965579"/>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a:defRPr/>
            </a:pPr>
            <a:r>
              <a:rPr lang="de-DE" dirty="0">
                <a:solidFill>
                  <a:srgbClr val="000000"/>
                </a:solidFill>
              </a:rPr>
              <a:t>| Optional</a:t>
            </a: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a:defRPr/>
            </a:pPr>
            <a:fld id="{DF107B34-1A56-43EE-86C9-2DAE19548ED2}" type="datetime1">
              <a:rPr lang="de-DE" smtClean="0">
                <a:solidFill>
                  <a:srgbClr val="000000"/>
                </a:solidFill>
              </a:rPr>
              <a:pPr>
                <a:defRPr/>
              </a:pPr>
              <a:t>19.12.23</a:t>
            </a:fld>
            <a:endParaRPr lang="de-DE" dirty="0">
              <a:solidFill>
                <a:srgbClr val="000000"/>
              </a:solidFil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13899378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4624196"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4624196"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a:defRPr/>
            </a:pPr>
            <a:r>
              <a:rPr lang="de-DE" dirty="0">
                <a:solidFill>
                  <a:srgbClr val="000000"/>
                </a:solidFill>
              </a:rPr>
              <a:t>| Optional</a:t>
            </a: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a:defRPr/>
            </a:pPr>
            <a:fld id="{0E0C30BE-3111-461B-8F9D-AEA244FE4A01}" type="datetime1">
              <a:rPr lang="de-DE" smtClean="0">
                <a:solidFill>
                  <a:srgbClr val="000000"/>
                </a:solidFill>
              </a:rPr>
              <a:pPr>
                <a:defRPr/>
              </a:pPr>
              <a:t>19.12.23</a:t>
            </a:fld>
            <a:endParaRPr lang="de-DE" dirty="0">
              <a:solidFill>
                <a:srgbClr val="000000"/>
              </a:solidFil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24128380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r>
              <a:rPr lang="en-US" dirty="0"/>
              <a:t>The Case for Siding Insulation</a:t>
            </a:r>
          </a:p>
        </p:txBody>
      </p:sp>
      <p:sp>
        <p:nvSpPr>
          <p:cNvPr id="6" name="Slide Number Placeholder 5"/>
          <p:cNvSpPr>
            <a:spLocks noGrp="1"/>
          </p:cNvSpPr>
          <p:nvPr>
            <p:ph type="sldNum" sz="quarter" idx="12"/>
          </p:nvPr>
        </p:nvSpPr>
        <p:spPr/>
        <p:txBody>
          <a:bodyPr/>
          <a:lstStyle>
            <a:lvl1pPr>
              <a:defRPr/>
            </a:lvl1pPr>
          </a:lstStyle>
          <a:p>
            <a:pPr>
              <a:defRPr/>
            </a:pPr>
            <a:fld id="{5037968F-C5DF-8942-8786-D4E55E9E1C54}" type="slidenum">
              <a:rPr lang="en-US"/>
              <a:pPr>
                <a:defRPr/>
              </a:pPr>
              <a:t>‹#›</a:t>
            </a:fld>
            <a:endParaRPr lang="en-US" dirty="0"/>
          </a:p>
        </p:txBody>
      </p:sp>
    </p:spTree>
    <p:extLst>
      <p:ext uri="{BB962C8B-B14F-4D97-AF65-F5344CB8AC3E}">
        <p14:creationId xmlns:p14="http://schemas.microsoft.com/office/powerpoint/2010/main" val="19320154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15925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159257"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a:defRPr/>
            </a:pPr>
            <a:r>
              <a:rPr lang="de-DE" dirty="0">
                <a:solidFill>
                  <a:srgbClr val="000000"/>
                </a:solidFill>
              </a:rPr>
              <a:t>| Optional</a:t>
            </a: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a:defRPr/>
            </a:pPr>
            <a:fld id="{D8AF7673-4E49-421A-A8F9-8B568C2E52E5}" type="datetime1">
              <a:rPr lang="de-DE" smtClean="0">
                <a:solidFill>
                  <a:srgbClr val="000000"/>
                </a:solidFill>
              </a:rPr>
              <a:pPr>
                <a:defRPr/>
              </a:pPr>
              <a:t>19.12.23</a:t>
            </a:fld>
            <a:endParaRPr lang="de-DE" dirty="0">
              <a:solidFill>
                <a:srgbClr val="000000"/>
              </a:solidFil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26258268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15925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4624196"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a:defRPr/>
            </a:pPr>
            <a:r>
              <a:rPr lang="de-DE" dirty="0">
                <a:solidFill>
                  <a:srgbClr val="000000"/>
                </a:solidFill>
              </a:rPr>
              <a:t>| Optional</a:t>
            </a: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a:defRPr/>
            </a:pPr>
            <a:fld id="{A2F219F5-2D10-43F8-A53B-34A1ADD86956}" type="datetime1">
              <a:rPr lang="de-DE" smtClean="0">
                <a:solidFill>
                  <a:srgbClr val="000000"/>
                </a:solidFill>
              </a:rPr>
              <a:pPr>
                <a:defRPr/>
              </a:pPr>
              <a:t>19.12.23</a:t>
            </a:fld>
            <a:endParaRPr lang="de-DE" dirty="0">
              <a:solidFill>
                <a:srgbClr val="000000"/>
              </a:solidFil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19850146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159258"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462419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159258"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4624197"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a:defRPr/>
            </a:pPr>
            <a:r>
              <a:rPr lang="de-DE" dirty="0">
                <a:solidFill>
                  <a:srgbClr val="000000"/>
                </a:solidFill>
              </a:rPr>
              <a:t>| Optional</a:t>
            </a: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a:defRPr/>
            </a:pPr>
            <a:fld id="{4497A7C5-BC5F-48E8-AE9A-063AD7EF3F55}" type="datetime1">
              <a:rPr lang="de-DE" smtClean="0">
                <a:solidFill>
                  <a:srgbClr val="000000"/>
                </a:solidFill>
              </a:rPr>
              <a:pPr>
                <a:defRPr/>
              </a:pPr>
              <a:t>19.12.23</a:t>
            </a:fld>
            <a:endParaRPr lang="de-DE" dirty="0">
              <a:solidFill>
                <a:srgbClr val="000000"/>
              </a:solidFil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21406370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51C1DB1-8CBD-4173-A65C-817F017B5AF2}" type="datetimeFigureOut">
              <a:rPr lang="en-US" smtClean="0"/>
              <a:t>12/19/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E047A04-264D-4655-9010-B1F6988209CB}" type="slidenum">
              <a:rPr lang="en-US" smtClean="0"/>
              <a:t>‹#›</a:t>
            </a:fld>
            <a:endParaRPr lang="en-US" dirty="0"/>
          </a:p>
        </p:txBody>
      </p:sp>
    </p:spTree>
    <p:extLst>
      <p:ext uri="{BB962C8B-B14F-4D97-AF65-F5344CB8AC3E}">
        <p14:creationId xmlns:p14="http://schemas.microsoft.com/office/powerpoint/2010/main" val="3119243502"/>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ASF_Finale_V10_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6C158954-2A4D-4D8C-BF47-5F0868C6CF35}"/>
              </a:ext>
            </a:extLst>
          </p:cNvPr>
          <p:cNvGrpSpPr/>
          <p:nvPr/>
        </p:nvGrpSpPr>
        <p:grpSpPr>
          <a:xfrm>
            <a:off x="1590" y="3"/>
            <a:ext cx="9140825" cy="6858001"/>
            <a:chOff x="2119" y="3"/>
            <a:chExt cx="12186180" cy="6858001"/>
          </a:xfrm>
        </p:grpSpPr>
        <p:pic>
          <p:nvPicPr>
            <p:cNvPr id="3" name="Picture 5" descr="C:\Documents and Settings\ROESSO\My Documents\Ablage\Corporate Design\PowerPoint\Logos Wizard\BASFc_Q_PPT_38_rot.ti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119" y="3"/>
              <a:ext cx="1218618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3F0E9031-C6CC-4AD9-A413-D4FEDA9930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37095888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r>
              <a:rPr lang="de-DE" dirty="0">
                <a:solidFill>
                  <a:srgbClr val="000000"/>
                </a:solidFil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extLst>
      <p:ext uri="{BB962C8B-B14F-4D97-AF65-F5344CB8AC3E}">
        <p14:creationId xmlns:p14="http://schemas.microsoft.com/office/powerpoint/2010/main" val="19396861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ASF_Finale_V10_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6C158954-2A4D-4D8C-BF47-5F0868C6CF35}"/>
              </a:ext>
            </a:extLst>
          </p:cNvPr>
          <p:cNvGrpSpPr/>
          <p:nvPr/>
        </p:nvGrpSpPr>
        <p:grpSpPr>
          <a:xfrm>
            <a:off x="1590" y="3"/>
            <a:ext cx="9140825" cy="6858001"/>
            <a:chOff x="2119" y="3"/>
            <a:chExt cx="12186180" cy="6858001"/>
          </a:xfrm>
        </p:grpSpPr>
        <p:pic>
          <p:nvPicPr>
            <p:cNvPr id="3" name="Picture 5" descr="C:\Documents and Settings\ROESSO\My Documents\Ablage\Corporate Design\PowerPoint\Logos Wizard\BASFc_Q_PPT_38_rot.ti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119" y="3"/>
              <a:ext cx="1218618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3F0E9031-C6CC-4AD9-A413-D4FEDA9930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373852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r>
              <a:rPr lang="de-DE" dirty="0">
                <a:solidFill>
                  <a:srgbClr val="000000"/>
                </a:solidFil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Tree>
    <p:custDataLst>
      <p:tags r:id="rId1"/>
    </p:custDataLst>
    <p:extLst>
      <p:ext uri="{BB962C8B-B14F-4D97-AF65-F5344CB8AC3E}">
        <p14:creationId xmlns:p14="http://schemas.microsoft.com/office/powerpoint/2010/main" val="1400141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solidFill>
                  <a:srgbClr val="DE791C"/>
                </a:solidFill>
              </a:defRPr>
            </a:lvl1p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Tree>
    <p:extLst>
      <p:ext uri="{BB962C8B-B14F-4D97-AF65-F5344CB8AC3E}">
        <p14:creationId xmlns:p14="http://schemas.microsoft.com/office/powerpoint/2010/main" val="1662112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solidFill>
                  <a:srgbClr val="DE791C"/>
                </a:solidFill>
              </a:defRPr>
            </a:lvl1pPr>
          </a:lstStyle>
          <a:p>
            <a:r>
              <a:rPr lang="en-US"/>
              <a:t>Click to edit Master title style</a:t>
            </a:r>
          </a:p>
        </p:txBody>
      </p:sp>
      <p:sp>
        <p:nvSpPr>
          <p:cNvPr id="3" name="Content Placeholder 2"/>
          <p:cNvSpPr>
            <a:spLocks noGrp="1"/>
          </p:cNvSpPr>
          <p:nvPr>
            <p:ph sz="half" idx="1"/>
          </p:nvPr>
        </p:nvSpPr>
        <p:spPr>
          <a:xfrm>
            <a:off x="628651" y="1825625"/>
            <a:ext cx="4699955" cy="4351338"/>
          </a:xfrm>
        </p:spPr>
        <p:txBody>
          <a:bodyPr>
            <a:normAutofit/>
          </a:bodyPr>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723092" y="1825625"/>
            <a:ext cx="2792258" cy="4351338"/>
          </a:xfrm>
        </p:spPr>
        <p:txBody>
          <a:bodyPr>
            <a:normAutofit/>
          </a:bodyPr>
          <a:lstStyle>
            <a:lvl1pPr>
              <a:defRPr sz="1125"/>
            </a:lvl1pPr>
            <a:lvl2pPr>
              <a:defRPr sz="1125"/>
            </a:lvl2pPr>
            <a:lvl3pPr>
              <a:defRPr sz="1125"/>
            </a:lvl3pPr>
            <a:lvl4pPr>
              <a:defRPr sz="1125"/>
            </a:lvl4pPr>
            <a:lvl5pPr>
              <a:defRPr sz="11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
        <p:nvSpPr>
          <p:cNvPr id="5" name="Date Placeholder 4">
            <a:extLst>
              <a:ext uri="{FF2B5EF4-FFF2-40B4-BE49-F238E27FC236}">
                <a16:creationId xmlns:a16="http://schemas.microsoft.com/office/drawing/2014/main" id="{D57370E3-C72A-6388-B748-CD6877185590}"/>
              </a:ext>
            </a:extLst>
          </p:cNvPr>
          <p:cNvSpPr>
            <a:spLocks noGrp="1"/>
          </p:cNvSpPr>
          <p:nvPr>
            <p:ph type="dt" sz="half" idx="14"/>
          </p:nvPr>
        </p:nvSpPr>
        <p:spPr/>
        <p:txBody>
          <a:bodyPr/>
          <a:lstStyle/>
          <a:p>
            <a:fld id="{789840AE-63A5-48FD-9C1D-662D51961897}" type="datetimeFigureOut">
              <a:rPr lang="en-US" smtClean="0"/>
              <a:t>12/19/23</a:t>
            </a:fld>
            <a:endParaRPr lang="en-US" dirty="0"/>
          </a:p>
        </p:txBody>
      </p:sp>
      <p:sp>
        <p:nvSpPr>
          <p:cNvPr id="6" name="Footer Placeholder 5">
            <a:extLst>
              <a:ext uri="{FF2B5EF4-FFF2-40B4-BE49-F238E27FC236}">
                <a16:creationId xmlns:a16="http://schemas.microsoft.com/office/drawing/2014/main" id="{D4958860-FF8B-E3EF-0605-C0FC594BD64E}"/>
              </a:ext>
            </a:extLst>
          </p:cNvPr>
          <p:cNvSpPr>
            <a:spLocks noGrp="1"/>
          </p:cNvSpPr>
          <p:nvPr>
            <p:ph type="ftr" sz="quarter" idx="15"/>
          </p:nvPr>
        </p:nvSpPr>
        <p:spPr/>
        <p:txBody>
          <a:bodyPr/>
          <a:lstStyle/>
          <a:p>
            <a:r>
              <a:rPr lang="en-US" dirty="0"/>
              <a:t>| Optional</a:t>
            </a:r>
          </a:p>
        </p:txBody>
      </p:sp>
      <p:sp>
        <p:nvSpPr>
          <p:cNvPr id="7" name="Slide Number Placeholder 6">
            <a:extLst>
              <a:ext uri="{FF2B5EF4-FFF2-40B4-BE49-F238E27FC236}">
                <a16:creationId xmlns:a16="http://schemas.microsoft.com/office/drawing/2014/main" id="{D3E4A14F-70D8-C254-8A5A-1653C4FAB81E}"/>
              </a:ext>
            </a:extLst>
          </p:cNvPr>
          <p:cNvSpPr>
            <a:spLocks noGrp="1"/>
          </p:cNvSpPr>
          <p:nvPr>
            <p:ph type="sldNum" sz="quarter" idx="16"/>
          </p:nvPr>
        </p:nvSpPr>
        <p:spPr/>
        <p:txBody>
          <a:bodyPr/>
          <a:lstStyle/>
          <a:p>
            <a:fld id="{13B84C50-AB20-4371-816E-E5BF3CA4A00D}" type="slidenum">
              <a:rPr lang="en-US" smtClean="0"/>
              <a:t>‹#›</a:t>
            </a:fld>
            <a:endParaRPr lang="en-US" dirty="0"/>
          </a:p>
        </p:txBody>
      </p:sp>
    </p:spTree>
    <p:extLst>
      <p:ext uri="{BB962C8B-B14F-4D97-AF65-F5344CB8AC3E}">
        <p14:creationId xmlns:p14="http://schemas.microsoft.com/office/powerpoint/2010/main" val="2708583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1C1DB1-8CBD-4173-A65C-817F017B5AF2}" type="datetimeFigureOut">
              <a:rPr lang="en-US" smtClean="0"/>
              <a:t>12/19/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E047A04-264D-4655-9010-B1F6988209CB}" type="slidenum">
              <a:rPr lang="en-US" smtClean="0"/>
              <a:t>‹#›</a:t>
            </a:fld>
            <a:endParaRPr lang="en-US" dirty="0"/>
          </a:p>
        </p:txBody>
      </p:sp>
    </p:spTree>
    <p:extLst>
      <p:ext uri="{BB962C8B-B14F-4D97-AF65-F5344CB8AC3E}">
        <p14:creationId xmlns:p14="http://schemas.microsoft.com/office/powerpoint/2010/main" val="1749663596"/>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Default Content Layout">
  <p:cSld name="Default Content Layout">
    <p:spTree>
      <p:nvGrpSpPr>
        <p:cNvPr id="1" name="Shape 26"/>
        <p:cNvGrpSpPr/>
        <p:nvPr/>
      </p:nvGrpSpPr>
      <p:grpSpPr>
        <a:xfrm>
          <a:off x="0" y="0"/>
          <a:ext cx="0" cy="0"/>
          <a:chOff x="0" y="0"/>
          <a:chExt cx="0" cy="0"/>
        </a:xfrm>
      </p:grpSpPr>
      <p:sp>
        <p:nvSpPr>
          <p:cNvPr id="28" name="Google Shape;28;p34"/>
          <p:cNvSpPr txBox="1">
            <a:spLocks noGrp="1"/>
          </p:cNvSpPr>
          <p:nvPr>
            <p:ph type="title"/>
          </p:nvPr>
        </p:nvSpPr>
        <p:spPr>
          <a:xfrm>
            <a:off x="229779" y="346273"/>
            <a:ext cx="8269985" cy="494237"/>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2"/>
              </a:buClr>
              <a:buSzPts val="3600"/>
              <a:buFont typeface="Arial"/>
              <a:buNone/>
              <a:defRPr sz="2700" b="1">
                <a:solidFill>
                  <a:schemeClr val="dk2"/>
                </a:solidFill>
                <a:latin typeface="Arial"/>
                <a:ea typeface="Arial"/>
                <a:cs typeface="Arial"/>
                <a:sym typeface="Arial"/>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dirty="0"/>
          </a:p>
        </p:txBody>
      </p:sp>
      <p:sp>
        <p:nvSpPr>
          <p:cNvPr id="29" name="Google Shape;29;p34"/>
          <p:cNvSpPr txBox="1">
            <a:spLocks noGrp="1"/>
          </p:cNvSpPr>
          <p:nvPr>
            <p:ph type="body" idx="1"/>
          </p:nvPr>
        </p:nvSpPr>
        <p:spPr>
          <a:xfrm>
            <a:off x="228600" y="862561"/>
            <a:ext cx="5378054" cy="337679"/>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accent6"/>
              </a:buClr>
              <a:buSzPts val="1800"/>
              <a:buFont typeface="Arial"/>
              <a:buNone/>
              <a:defRPr sz="1350" b="1" i="0" u="none" strike="noStrike" cap="none">
                <a:solidFill>
                  <a:schemeClr val="accent6"/>
                </a:solidFill>
                <a:latin typeface="Arial"/>
                <a:ea typeface="Arial"/>
                <a:cs typeface="Arial"/>
                <a:sym typeface="Arial"/>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Arial"/>
                <a:ea typeface="Arial"/>
                <a:cs typeface="Arial"/>
                <a:sym typeface="Arial"/>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Arial"/>
                <a:ea typeface="Arial"/>
                <a:cs typeface="Arial"/>
                <a:sym typeface="Arial"/>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30" name="Google Shape;30;p34"/>
          <p:cNvSpPr txBox="1">
            <a:spLocks noGrp="1"/>
          </p:cNvSpPr>
          <p:nvPr>
            <p:ph type="body" idx="2"/>
          </p:nvPr>
        </p:nvSpPr>
        <p:spPr>
          <a:xfrm>
            <a:off x="242647" y="1592264"/>
            <a:ext cx="8589626" cy="4162425"/>
          </a:xfrm>
          <a:prstGeom prst="rect">
            <a:avLst/>
          </a:prstGeom>
          <a:noFill/>
          <a:ln>
            <a:noFill/>
          </a:ln>
        </p:spPr>
        <p:txBody>
          <a:bodyPr spcFirstLastPara="1" wrap="square" lIns="91425" tIns="45700" rIns="91425" bIns="45700" anchor="t" anchorCtr="0">
            <a:noAutofit/>
          </a:bodyPr>
          <a:lstStyle>
            <a:lvl1pPr marL="342900" marR="0" lvl="0" indent="-304800" algn="l" rtl="0">
              <a:lnSpc>
                <a:spcPct val="90000"/>
              </a:lnSpc>
              <a:spcBef>
                <a:spcPts val="750"/>
              </a:spcBef>
              <a:spcAft>
                <a:spcPts val="0"/>
              </a:spcAft>
              <a:buClr>
                <a:schemeClr val="accent6"/>
              </a:buClr>
              <a:buSzPts val="2800"/>
              <a:buFont typeface="Arial"/>
              <a:buChar char="•"/>
              <a:defRPr sz="2100" b="0" i="0" u="none" strike="noStrike" cap="none">
                <a:solidFill>
                  <a:schemeClr val="accent6"/>
                </a:solidFill>
                <a:latin typeface="Arial"/>
                <a:ea typeface="Arial"/>
                <a:cs typeface="Arial"/>
                <a:sym typeface="Arial"/>
              </a:defRPr>
            </a:lvl1pPr>
            <a:lvl2pPr marL="685800" marR="0" lvl="1" indent="-285750" algn="l" rtl="0">
              <a:lnSpc>
                <a:spcPct val="90000"/>
              </a:lnSpc>
              <a:spcBef>
                <a:spcPts val="375"/>
              </a:spcBef>
              <a:spcAft>
                <a:spcPts val="0"/>
              </a:spcAft>
              <a:buClr>
                <a:schemeClr val="accent6"/>
              </a:buClr>
              <a:buSzPts val="2400"/>
              <a:buFont typeface="Arial"/>
              <a:buChar char="•"/>
              <a:defRPr sz="1800" b="0" i="0" u="none" strike="noStrike" cap="none">
                <a:solidFill>
                  <a:schemeClr val="accent6"/>
                </a:solidFill>
                <a:latin typeface="Arial"/>
                <a:ea typeface="Arial"/>
                <a:cs typeface="Arial"/>
                <a:sym typeface="Arial"/>
              </a:defRPr>
            </a:lvl2pPr>
            <a:lvl3pPr marL="1028700" marR="0" lvl="2" indent="-266700" algn="l" rtl="0">
              <a:lnSpc>
                <a:spcPct val="90000"/>
              </a:lnSpc>
              <a:spcBef>
                <a:spcPts val="375"/>
              </a:spcBef>
              <a:spcAft>
                <a:spcPts val="0"/>
              </a:spcAft>
              <a:buClr>
                <a:schemeClr val="accent6"/>
              </a:buClr>
              <a:buSzPts val="2000"/>
              <a:buFont typeface="Arial"/>
              <a:buChar char="•"/>
              <a:defRPr sz="1500" b="0" i="0" u="none" strike="noStrike" cap="none">
                <a:solidFill>
                  <a:schemeClr val="accent6"/>
                </a:solidFill>
                <a:latin typeface="Arial"/>
                <a:ea typeface="Arial"/>
                <a:cs typeface="Arial"/>
                <a:sym typeface="Arial"/>
              </a:defRPr>
            </a:lvl3pPr>
            <a:lvl4pPr marL="1371600" marR="0" lvl="3" indent="-257175" algn="l" rtl="0">
              <a:lnSpc>
                <a:spcPct val="90000"/>
              </a:lnSpc>
              <a:spcBef>
                <a:spcPts val="375"/>
              </a:spcBef>
              <a:spcAft>
                <a:spcPts val="0"/>
              </a:spcAft>
              <a:buClr>
                <a:schemeClr val="accent6"/>
              </a:buClr>
              <a:buSzPts val="1800"/>
              <a:buFont typeface="Arial"/>
              <a:buChar char="•"/>
              <a:defRPr sz="1350" b="0" i="0" u="none" strike="noStrike" cap="none">
                <a:solidFill>
                  <a:schemeClr val="accent6"/>
                </a:solidFill>
                <a:latin typeface="Arial"/>
                <a:ea typeface="Arial"/>
                <a:cs typeface="Arial"/>
                <a:sym typeface="Arial"/>
              </a:defRPr>
            </a:lvl4pPr>
            <a:lvl5pPr marL="1714500" marR="0" lvl="4" indent="-257175" algn="l" rtl="0">
              <a:lnSpc>
                <a:spcPct val="90000"/>
              </a:lnSpc>
              <a:spcBef>
                <a:spcPts val="375"/>
              </a:spcBef>
              <a:spcAft>
                <a:spcPts val="0"/>
              </a:spcAft>
              <a:buClr>
                <a:schemeClr val="accent6"/>
              </a:buClr>
              <a:buSzPts val="1800"/>
              <a:buFont typeface="Arial"/>
              <a:buChar char="•"/>
              <a:defRPr sz="1350" b="0" i="0" u="none" strike="noStrike" cap="none">
                <a:solidFill>
                  <a:schemeClr val="accent6"/>
                </a:solidFill>
                <a:latin typeface="Arial"/>
                <a:ea typeface="Arial"/>
                <a:cs typeface="Arial"/>
                <a:sym typeface="Arial"/>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Arial"/>
                <a:ea typeface="Arial"/>
                <a:cs typeface="Arial"/>
                <a:sym typeface="Arial"/>
              </a:defRPr>
            </a:lvl9pPr>
          </a:lstStyle>
          <a:p>
            <a:endParaRPr/>
          </a:p>
        </p:txBody>
      </p:sp>
      <p:pic>
        <p:nvPicPr>
          <p:cNvPr id="31" name="Google Shape;31;p34"/>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8003357" y="6397116"/>
            <a:ext cx="907320" cy="346413"/>
          </a:xfrm>
          <a:prstGeom prst="rect">
            <a:avLst/>
          </a:prstGeom>
          <a:noFill/>
          <a:ln>
            <a:noFill/>
          </a:ln>
        </p:spPr>
      </p:pic>
    </p:spTree>
    <p:extLst>
      <p:ext uri="{BB962C8B-B14F-4D97-AF65-F5344CB8AC3E}">
        <p14:creationId xmlns:p14="http://schemas.microsoft.com/office/powerpoint/2010/main" val="3472795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extLst>
    <p:ext uri="{DCECCB84-F9BA-43D5-87BE-67443E8EF086}">
      <p15:sldGuideLst xmlns:p15="http://schemas.microsoft.com/office/powerpoint/2012/main">
        <p15:guide id="1" pos="1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solidFill>
                  <a:srgbClr val="DE791C"/>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
        <p:nvSpPr>
          <p:cNvPr id="10" name="Date Placeholder 9">
            <a:extLst>
              <a:ext uri="{FF2B5EF4-FFF2-40B4-BE49-F238E27FC236}">
                <a16:creationId xmlns:a16="http://schemas.microsoft.com/office/drawing/2014/main" id="{CFD0C0F7-01FC-67C3-5020-5DE72462DA43}"/>
              </a:ext>
            </a:extLst>
          </p:cNvPr>
          <p:cNvSpPr>
            <a:spLocks noGrp="1"/>
          </p:cNvSpPr>
          <p:nvPr>
            <p:ph type="dt" sz="half" idx="14"/>
          </p:nvPr>
        </p:nvSpPr>
        <p:spPr/>
        <p:txBody>
          <a:bodyPr/>
          <a:lstStyle/>
          <a:p>
            <a:fld id="{789840AE-63A5-48FD-9C1D-662D51961897}" type="datetimeFigureOut">
              <a:rPr lang="en-US" smtClean="0"/>
              <a:t>12/19/23</a:t>
            </a:fld>
            <a:endParaRPr lang="en-US" dirty="0"/>
          </a:p>
        </p:txBody>
      </p:sp>
      <p:sp>
        <p:nvSpPr>
          <p:cNvPr id="11" name="Footer Placeholder 10">
            <a:extLst>
              <a:ext uri="{FF2B5EF4-FFF2-40B4-BE49-F238E27FC236}">
                <a16:creationId xmlns:a16="http://schemas.microsoft.com/office/drawing/2014/main" id="{B1F9B353-CFAE-3BB8-047E-CCA3DACFE277}"/>
              </a:ext>
            </a:extLst>
          </p:cNvPr>
          <p:cNvSpPr>
            <a:spLocks noGrp="1"/>
          </p:cNvSpPr>
          <p:nvPr>
            <p:ph type="ftr" sz="quarter" idx="15"/>
          </p:nvPr>
        </p:nvSpPr>
        <p:spPr/>
        <p:txBody>
          <a:bodyPr/>
          <a:lstStyle/>
          <a:p>
            <a:r>
              <a:rPr lang="en-US" dirty="0"/>
              <a:t>| Optional</a:t>
            </a:r>
          </a:p>
        </p:txBody>
      </p:sp>
      <p:sp>
        <p:nvSpPr>
          <p:cNvPr id="12" name="Slide Number Placeholder 11">
            <a:extLst>
              <a:ext uri="{FF2B5EF4-FFF2-40B4-BE49-F238E27FC236}">
                <a16:creationId xmlns:a16="http://schemas.microsoft.com/office/drawing/2014/main" id="{CA888007-119C-28F3-E812-D38D9651FDA2}"/>
              </a:ext>
            </a:extLst>
          </p:cNvPr>
          <p:cNvSpPr>
            <a:spLocks noGrp="1"/>
          </p:cNvSpPr>
          <p:nvPr>
            <p:ph type="sldNum" sz="quarter" idx="16"/>
          </p:nvPr>
        </p:nvSpPr>
        <p:spPr/>
        <p:txBody>
          <a:bodyPr/>
          <a:lstStyle/>
          <a:p>
            <a:fld id="{13B84C50-AB20-4371-816E-E5BF3CA4A00D}" type="slidenum">
              <a:rPr lang="en-US" smtClean="0"/>
              <a:t>‹#›</a:t>
            </a:fld>
            <a:endParaRPr lang="en-US" dirty="0"/>
          </a:p>
        </p:txBody>
      </p:sp>
      <p:sp>
        <p:nvSpPr>
          <p:cNvPr id="13" name="Rectangle 12">
            <a:extLst>
              <a:ext uri="{FF2B5EF4-FFF2-40B4-BE49-F238E27FC236}">
                <a16:creationId xmlns:a16="http://schemas.microsoft.com/office/drawing/2014/main" id="{1F8FEE77-F4DA-B3CD-2665-08A2A728161D}"/>
              </a:ext>
            </a:extLst>
          </p:cNvPr>
          <p:cNvSpPr/>
          <p:nvPr userDrawn="1"/>
        </p:nvSpPr>
        <p:spPr>
          <a:xfrm>
            <a:off x="4223084" y="6590398"/>
            <a:ext cx="794084" cy="2676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098501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theme" Target="../theme/theme2.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image" Target="../media/image4.pn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tags" Target="../tags/tag7.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image" Target="../media/image3.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tags" Target="../tags/tag6.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tags" Target="../tags/tag5.xml"/><Relationship Id="rId30" Type="http://schemas.openxmlformats.org/officeDocument/2006/relationships/oleObject" Target="../embeddings/oleObject2.bin"/><Relationship Id="rId8"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4.xml"/><Relationship Id="rId1" Type="http://schemas.openxmlformats.org/officeDocument/2006/relationships/slideLayout" Target="../slideLayouts/slideLayout36.xml"/><Relationship Id="rId5" Type="http://schemas.openxmlformats.org/officeDocument/2006/relationships/image" Target="../media/image7.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9068F2F-7735-4376-99CD-F8C0184A4EA1}"/>
              </a:ext>
            </a:extLst>
          </p:cNvPr>
          <p:cNvGraphicFramePr>
            <a:graphicFrameLocks noChangeAspect="1"/>
          </p:cNvGraphicFramePr>
          <p:nvPr userDrawn="1">
            <p:custDataLst>
              <p:tags r:id="rId11"/>
            </p:custDataLst>
            <p:extLst>
              <p:ext uri="{D42A27DB-BD31-4B8C-83A1-F6EECF244321}">
                <p14:modId xmlns:p14="http://schemas.microsoft.com/office/powerpoint/2010/main" val="428486649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3" imgW="306" imgH="305" progId="TCLayout.ActiveDocument.1">
                  <p:embed/>
                </p:oleObj>
              </mc:Choice>
              <mc:Fallback>
                <p:oleObj name="think-cell Slide" r:id="rId13" imgW="306" imgH="305" progId="TCLayout.ActiveDocument.1">
                  <p:embed/>
                  <p:pic>
                    <p:nvPicPr>
                      <p:cNvPr id="10" name="Object 9" hidden="1">
                        <a:extLst>
                          <a:ext uri="{FF2B5EF4-FFF2-40B4-BE49-F238E27FC236}">
                            <a16:creationId xmlns:a16="http://schemas.microsoft.com/office/drawing/2014/main" id="{C9068F2F-7735-4376-99CD-F8C0184A4EA1}"/>
                          </a:ext>
                        </a:extLst>
                      </p:cNvPr>
                      <p:cNvPicPr/>
                      <p:nvPr/>
                    </p:nvPicPr>
                    <p:blipFill>
                      <a:blip r:embed="rId14"/>
                      <a:stretch>
                        <a:fillRect/>
                      </a:stretch>
                    </p:blipFill>
                    <p:spPr>
                      <a:xfrm>
                        <a:off x="1191" y="1588"/>
                        <a:ext cx="1191"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6FDF5A-15B3-4245-8CD2-BFFAF7E995C6}"/>
              </a:ext>
            </a:extLst>
          </p:cNvPr>
          <p:cNvSpPr/>
          <p:nvPr userDrawn="1">
            <p:custDataLst>
              <p:tags r:id="rId12"/>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50" b="0" i="0" baseline="0" dirty="0">
              <a:latin typeface="Arial" panose="020B0604020202020204" pitchFamily="34" charset="0"/>
              <a:cs typeface="Arial" panose="020B0604020202020204" pitchFamily="34" charset="0"/>
              <a:sym typeface="Arial" panose="020B0604020202020204" pitchFamily="34" charset="0"/>
            </a:endParaRPr>
          </a:p>
        </p:txBody>
      </p:sp>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514320" y="6516409"/>
            <a:ext cx="351095" cy="175322"/>
          </a:xfrm>
          <a:prstGeom prst="rect">
            <a:avLst/>
          </a:prstGeom>
        </p:spPr>
        <p:txBody>
          <a:bodyPr wrap="none" lIns="0" tIns="0" rIns="0" bIns="0"/>
          <a:lstStyle>
            <a:lvl1pPr>
              <a:defRPr sz="675"/>
            </a:lvl1pPr>
          </a:lstStyle>
          <a:p>
            <a:fld id="{789840AE-63A5-48FD-9C1D-662D51961897}" type="datetimeFigureOut">
              <a:rPr lang="en-US" smtClean="0"/>
              <a:t>12/19/23</a:t>
            </a:fld>
            <a:endParaRPr lang="en-US" dirty="0"/>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026000" y="6516111"/>
            <a:ext cx="2523202" cy="167933"/>
          </a:xfrm>
          <a:prstGeom prst="rect">
            <a:avLst/>
          </a:prstGeom>
        </p:spPr>
        <p:txBody>
          <a:bodyPr lIns="0" tIns="0" rIns="0" bIns="0"/>
          <a:lstStyle>
            <a:lvl1pPr>
              <a:defRPr sz="675">
                <a:solidFill>
                  <a:srgbClr val="000000"/>
                </a:solidFill>
              </a:defRPr>
            </a:lvl1pPr>
          </a:lstStyle>
          <a:p>
            <a:r>
              <a:rPr lang="en-US" dirty="0"/>
              <a:t>| Optional</a:t>
            </a:r>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170260" y="6514798"/>
            <a:ext cx="288163" cy="151200"/>
          </a:xfrm>
          <a:prstGeom prst="rect">
            <a:avLst/>
          </a:prstGeom>
        </p:spPr>
        <p:txBody>
          <a:bodyPr lIns="0" tIns="0" rIns="0" bIns="0"/>
          <a:lstStyle>
            <a:lvl1pPr>
              <a:defRPr sz="675" b="1"/>
            </a:lvl1pPr>
          </a:lstStyle>
          <a:p>
            <a:fld id="{13B84C50-AB20-4371-816E-E5BF3CA4A00D}" type="slidenum">
              <a:rPr lang="en-US" smtClean="0"/>
              <a:t>‹#›</a:t>
            </a:fld>
            <a:endParaRPr lang="en-US" dirty="0"/>
          </a:p>
        </p:txBody>
      </p:sp>
      <p:sp>
        <p:nvSpPr>
          <p:cNvPr id="7" name="Title Placeholder 6">
            <a:extLst>
              <a:ext uri="{FF2B5EF4-FFF2-40B4-BE49-F238E27FC236}">
                <a16:creationId xmlns:a16="http://schemas.microsoft.com/office/drawing/2014/main" id="{02A47291-A96F-4020-8EAF-640B8C9AFA89}"/>
              </a:ext>
            </a:extLst>
          </p:cNvPr>
          <p:cNvSpPr>
            <a:spLocks noGrp="1"/>
          </p:cNvSpPr>
          <p:nvPr>
            <p:ph type="title"/>
          </p:nvPr>
        </p:nvSpPr>
        <p:spPr>
          <a:xfrm>
            <a:off x="628650" y="365126"/>
            <a:ext cx="7886700" cy="1325563"/>
          </a:xfrm>
          <a:prstGeom prst="rect">
            <a:avLst/>
          </a:prstGeom>
        </p:spPr>
        <p:txBody>
          <a:bodyPr vert="horz" lIns="0" tIns="0" rIns="0" bIns="0" rtlCol="0" anchor="t">
            <a:normAutofit/>
          </a:bodyPr>
          <a:lstStyle/>
          <a:p>
            <a:r>
              <a:rPr lang="en-US"/>
              <a:t>Click to edit Master title style</a:t>
            </a:r>
          </a:p>
        </p:txBody>
      </p:sp>
      <p:sp>
        <p:nvSpPr>
          <p:cNvPr id="8" name="Text Placeholder 7">
            <a:extLst>
              <a:ext uri="{FF2B5EF4-FFF2-40B4-BE49-F238E27FC236}">
                <a16:creationId xmlns:a16="http://schemas.microsoft.com/office/drawing/2014/main" id="{D7F36EFC-886A-47D7-A406-1AC048B1A598}"/>
              </a:ext>
            </a:extLst>
          </p:cNvPr>
          <p:cNvSpPr>
            <a:spLocks noGrp="1"/>
          </p:cNvSpPr>
          <p:nvPr>
            <p:ph type="body" idx="1"/>
          </p:nvPr>
        </p:nvSpPr>
        <p:spPr>
          <a:xfrm>
            <a:off x="628650" y="1825625"/>
            <a:ext cx="7886700"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3559383"/>
      </p:ext>
    </p:extLst>
  </p:cSld>
  <p:clrMap bg1="lt1" tx1="dk1" bg2="lt2" tx2="dk2" accent1="accent1" accent2="accent2" accent3="accent3" accent4="accent4" accent5="accent5" accent6="accent6" hlink="hlink" folHlink="folHlink"/>
  <p:sldLayoutIdLst>
    <p:sldLayoutId id="2147483734" r:id="rId1"/>
    <p:sldLayoutId id="2147483770" r:id="rId2"/>
    <p:sldLayoutId id="2147483782" r:id="rId3"/>
    <p:sldLayoutId id="2147483783" r:id="rId4"/>
    <p:sldLayoutId id="2147483785" r:id="rId5"/>
    <p:sldLayoutId id="2147483791" r:id="rId6"/>
    <p:sldLayoutId id="2147483792" r:id="rId7"/>
    <p:sldLayoutId id="2147483794" r:id="rId8"/>
    <p:sldLayoutId id="2147483795" r:id="rId9"/>
  </p:sldLayoutIdLst>
  <p:txStyles>
    <p:titleStyle>
      <a:lvl1pPr algn="l" defTabSz="685800" rtl="0" eaLnBrk="1" latinLnBrk="0" hangingPunct="1">
        <a:lnSpc>
          <a:spcPct val="90000"/>
        </a:lnSpc>
        <a:spcBef>
          <a:spcPct val="0"/>
        </a:spcBef>
        <a:buNone/>
        <a:defRPr sz="2550" kern="1200">
          <a:solidFill>
            <a:schemeClr val="accent1"/>
          </a:solidFill>
          <a:latin typeface="+mj-lt"/>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lang="de-DE" sz="1500" b="0" i="0" kern="1200" baseline="0" dirty="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lang="de-DE" sz="1500" b="0" i="0" kern="1200" baseline="0" dirty="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1500" b="0" i="0" kern="1200" baseline="0" dirty="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5pPr>
      <a:lvl6pPr marL="15606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6pPr>
      <a:lvl7pPr marL="19035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7pPr>
      <a:lvl8pPr marL="22464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8pPr>
      <a:lvl9pPr marL="25893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102" userDrawn="1">
          <p15:clr>
            <a:srgbClr val="F26B43"/>
          </p15:clr>
        </p15:guide>
        <p15:guide id="4" pos="5658" userDrawn="1">
          <p15:clr>
            <a:srgbClr val="F26B43"/>
          </p15:clr>
        </p15:guide>
        <p15:guide id="5" orient="horz" pos="136" userDrawn="1">
          <p15:clr>
            <a:srgbClr val="F26B43"/>
          </p15:clr>
        </p15:guide>
        <p15:guide id="6" orient="horz" pos="41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EAF2777-10EC-430C-BC16-CA18ACB4CD98}"/>
              </a:ext>
            </a:extLst>
          </p:cNvPr>
          <p:cNvGraphicFramePr>
            <a:graphicFrameLocks noChangeAspect="1"/>
          </p:cNvGraphicFramePr>
          <p:nvPr userDrawn="1">
            <p:custDataLst>
              <p:tags r:id="rId28"/>
            </p:custDataLst>
            <p:extLst>
              <p:ext uri="{D42A27DB-BD31-4B8C-83A1-F6EECF244321}">
                <p14:modId xmlns:p14="http://schemas.microsoft.com/office/powerpoint/2010/main" val="109726270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0" imgW="306" imgH="305" progId="TCLayout.ActiveDocument.1">
                  <p:embed/>
                </p:oleObj>
              </mc:Choice>
              <mc:Fallback>
                <p:oleObj name="think-cell Slide" r:id="rId30" imgW="306" imgH="305" progId="TCLayout.ActiveDocument.1">
                  <p:embed/>
                  <p:pic>
                    <p:nvPicPr>
                      <p:cNvPr id="17" name="Object 16" hidden="1">
                        <a:extLst>
                          <a:ext uri="{FF2B5EF4-FFF2-40B4-BE49-F238E27FC236}">
                            <a16:creationId xmlns:a16="http://schemas.microsoft.com/office/drawing/2014/main" id="{9EAF2777-10EC-430C-BC16-CA18ACB4CD98}"/>
                          </a:ext>
                        </a:extLst>
                      </p:cNvPr>
                      <p:cNvPicPr/>
                      <p:nvPr/>
                    </p:nvPicPr>
                    <p:blipFill>
                      <a:blip r:embed="rId31"/>
                      <a:stretch>
                        <a:fillRect/>
                      </a:stretch>
                    </p:blipFill>
                    <p:spPr>
                      <a:xfrm>
                        <a:off x="1191" y="1588"/>
                        <a:ext cx="1191"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11EB855-E127-4A9C-A816-E893E464AE45}"/>
              </a:ext>
            </a:extLst>
          </p:cNvPr>
          <p:cNvSpPr/>
          <p:nvPr userDrawn="1">
            <p:custDataLst>
              <p:tags r:id="rId29"/>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5" name="Fußzeilenplatzhalter 4"/>
          <p:cNvSpPr>
            <a:spLocks noGrp="1"/>
          </p:cNvSpPr>
          <p:nvPr>
            <p:ph type="ftr" sz="quarter" idx="3"/>
          </p:nvPr>
        </p:nvSpPr>
        <p:spPr>
          <a:xfrm>
            <a:off x="1026000" y="6516000"/>
            <a:ext cx="5940000" cy="169200"/>
          </a:xfrm>
          <a:prstGeom prst="rect">
            <a:avLst/>
          </a:prstGeom>
        </p:spPr>
        <p:txBody>
          <a:bodyPr vert="horz"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r>
              <a:rPr lang="de-DE" dirty="0">
                <a:solidFill>
                  <a:srgbClr val="000000"/>
                </a:solidFill>
              </a:rPr>
              <a:t>| Optional</a:t>
            </a:r>
          </a:p>
        </p:txBody>
      </p:sp>
      <p:sp>
        <p:nvSpPr>
          <p:cNvPr id="4" name="Datumsplatzhalter 3"/>
          <p:cNvSpPr>
            <a:spLocks noGrp="1"/>
          </p:cNvSpPr>
          <p:nvPr>
            <p:ph type="dt" sz="half" idx="2"/>
          </p:nvPr>
        </p:nvSpPr>
        <p:spPr>
          <a:xfrm>
            <a:off x="515700" y="6516000"/>
            <a:ext cx="351000" cy="151200"/>
          </a:xfrm>
          <a:prstGeom prst="rect">
            <a:avLst/>
          </a:prstGeom>
        </p:spPr>
        <p:txBody>
          <a:bodyPr vert="horz" wrap="none"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fld id="{C2DB60D2-BC6A-46E6-9CF7-E32531D2CD29}" type="datetime1">
              <a:rPr lang="de-DE" smtClean="0">
                <a:solidFill>
                  <a:srgbClr val="000000"/>
                </a:solidFill>
              </a:rPr>
              <a:pPr>
                <a:defRPr/>
              </a:pPr>
              <a:t>19.12.23</a:t>
            </a:fld>
            <a:endParaRPr lang="de-DE" dirty="0">
              <a:solidFill>
                <a:srgbClr val="000000"/>
              </a:solidFill>
            </a:endParaRPr>
          </a:p>
        </p:txBody>
      </p:sp>
      <p:sp>
        <p:nvSpPr>
          <p:cNvPr id="6" name="Foliennummernplatzhalter 5"/>
          <p:cNvSpPr>
            <a:spLocks noGrp="1"/>
          </p:cNvSpPr>
          <p:nvPr>
            <p:ph type="sldNum" sz="quarter" idx="4"/>
          </p:nvPr>
        </p:nvSpPr>
        <p:spPr>
          <a:xfrm>
            <a:off x="170100" y="6516000"/>
            <a:ext cx="270000" cy="151200"/>
          </a:xfrm>
          <a:prstGeom prst="rect">
            <a:avLst/>
          </a:prstGeom>
        </p:spPr>
        <p:txBody>
          <a:bodyPr vert="horz" lIns="0" tIns="0" rIns="0" bIns="0" rtlCol="0" anchor="t">
            <a:noAutofit/>
          </a:bodyPr>
          <a:lstStyle>
            <a:lvl1pPr marL="0" algn="l" defTabSz="685800" rtl="0" eaLnBrk="1" latinLnBrk="0" hangingPunct="1">
              <a:lnSpc>
                <a:spcPct val="100000"/>
              </a:lnSpc>
              <a:spcBef>
                <a:spcPts val="83"/>
              </a:spcBef>
              <a:spcAft>
                <a:spcPts val="83"/>
              </a:spcAft>
              <a:buNone/>
              <a:defRPr sz="675" b="1" i="0">
                <a:solidFill>
                  <a:schemeClr val="tx1"/>
                </a:solidFill>
                <a:latin typeface="+mn-lt"/>
              </a:defRPr>
            </a:lvl1p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
        <p:nvSpPr>
          <p:cNvPr id="8" name="Title Placeholder 7">
            <a:extLst>
              <a:ext uri="{FF2B5EF4-FFF2-40B4-BE49-F238E27FC236}">
                <a16:creationId xmlns:a16="http://schemas.microsoft.com/office/drawing/2014/main" id="{B16A5E9B-EFB9-4B52-A5B2-2AD62A660A51}"/>
              </a:ext>
            </a:extLst>
          </p:cNvPr>
          <p:cNvSpPr>
            <a:spLocks noGrp="1"/>
          </p:cNvSpPr>
          <p:nvPr>
            <p:ph type="title"/>
          </p:nvPr>
        </p:nvSpPr>
        <p:spPr>
          <a:xfrm>
            <a:off x="164700" y="432000"/>
            <a:ext cx="8802000" cy="853200"/>
          </a:xfrm>
          <a:prstGeom prst="rect">
            <a:avLst/>
          </a:prstGeom>
        </p:spPr>
        <p:txBody>
          <a:bodyPr vert="horz" lIns="0" tIns="0" rIns="0" bIns="0" rtlCol="0" anchor="t">
            <a:noAutofit/>
          </a:bodyPr>
          <a:lstStyle/>
          <a:p>
            <a:r>
              <a:rPr lang="en-US"/>
              <a:t>Click to edit Master title style</a:t>
            </a:r>
          </a:p>
        </p:txBody>
      </p:sp>
      <p:sp>
        <p:nvSpPr>
          <p:cNvPr id="9" name="Text Placeholder 8">
            <a:extLst>
              <a:ext uri="{FF2B5EF4-FFF2-40B4-BE49-F238E27FC236}">
                <a16:creationId xmlns:a16="http://schemas.microsoft.com/office/drawing/2014/main" id="{218DF943-E989-4392-A2D1-120E2182345F}"/>
              </a:ext>
            </a:extLst>
          </p:cNvPr>
          <p:cNvSpPr>
            <a:spLocks noGrp="1"/>
          </p:cNvSpPr>
          <p:nvPr>
            <p:ph type="body" idx="1"/>
          </p:nvPr>
        </p:nvSpPr>
        <p:spPr>
          <a:xfrm>
            <a:off x="159300" y="1965600"/>
            <a:ext cx="88155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a:extLst>
              <a:ext uri="{FF2B5EF4-FFF2-40B4-BE49-F238E27FC236}">
                <a16:creationId xmlns:a16="http://schemas.microsoft.com/office/drawing/2014/main" id="{8F0144A4-E519-43A6-A6F5-84271746B8EE}"/>
              </a:ext>
            </a:extLst>
          </p:cNvPr>
          <p:cNvGrpSpPr/>
          <p:nvPr userDrawn="1"/>
        </p:nvGrpSpPr>
        <p:grpSpPr>
          <a:xfrm>
            <a:off x="7200900" y="6091200"/>
            <a:ext cx="1944000" cy="540000"/>
            <a:chOff x="96012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6012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9734400" y="6224400"/>
              <a:ext cx="808391" cy="292882"/>
            </a:xfrm>
            <a:prstGeom prst="rect">
              <a:avLst/>
            </a:prstGeom>
          </p:spPr>
        </p:pic>
        <p:pic>
          <p:nvPicPr>
            <p:cNvPr id="14" name="Picture 13">
              <a:extLst>
                <a:ext uri="{FF2B5EF4-FFF2-40B4-BE49-F238E27FC236}">
                  <a16:creationId xmlns:a16="http://schemas.microsoft.com/office/drawing/2014/main" id="{F4320BB3-C926-4D02-A26C-2E9F315B3229}"/>
                </a:ext>
              </a:extLst>
            </p:cNvPr>
            <p:cNvPicPr>
              <a:picLocks/>
            </p:cNvPicPr>
            <p:nvPr/>
          </p:nvPicPr>
          <p:blipFill>
            <a:blip r:embed="rId33" cstate="email">
              <a:extLst>
                <a:ext uri="{28A0092B-C50C-407E-A947-70E740481C1C}">
                  <a14:useLocalDpi xmlns:a14="http://schemas.microsoft.com/office/drawing/2010/main"/>
                </a:ext>
              </a:extLst>
            </a:blip>
            <a:stretch>
              <a:fillRect/>
            </a:stretch>
          </p:blipFill>
          <p:spPr>
            <a:xfrm>
              <a:off x="10812791" y="6214680"/>
              <a:ext cx="586800" cy="293400"/>
            </a:xfrm>
            <a:prstGeom prst="rect">
              <a:avLst/>
            </a:prstGeom>
          </p:spPr>
        </p:pic>
        <p:cxnSp>
          <p:nvCxnSpPr>
            <p:cNvPr id="12" name="Straight Connector 11">
              <a:extLst>
                <a:ext uri="{FF2B5EF4-FFF2-40B4-BE49-F238E27FC236}">
                  <a16:creationId xmlns:a16="http://schemas.microsoft.com/office/drawing/2014/main" id="{22470838-5317-4ECE-BE40-BBD900505915}"/>
                </a:ext>
              </a:extLst>
            </p:cNvPr>
            <p:cNvCxnSpPr/>
            <p:nvPr/>
          </p:nvCxnSpPr>
          <p:spPr>
            <a:xfrm>
              <a:off x="10677791" y="6158700"/>
              <a:ext cx="0" cy="405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spTree>
    <p:custDataLst>
      <p:tags r:id="rId27"/>
    </p:custDataLst>
    <p:extLst>
      <p:ext uri="{BB962C8B-B14F-4D97-AF65-F5344CB8AC3E}">
        <p14:creationId xmlns:p14="http://schemas.microsoft.com/office/powerpoint/2010/main" val="381348490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87" r:id="rId24"/>
    <p:sldLayoutId id="2147483796" r:id="rId25"/>
  </p:sldLayoutIdLst>
  <p:hf hdr="0" ftr="0"/>
  <p:txStyles>
    <p:titleStyle>
      <a:lvl1pPr algn="l" defTabSz="685800" rtl="0" eaLnBrk="1" latinLnBrk="0" hangingPunct="1">
        <a:lnSpc>
          <a:spcPct val="100000"/>
        </a:lnSpc>
        <a:spcBef>
          <a:spcPts val="83"/>
        </a:spcBef>
        <a:spcAft>
          <a:spcPts val="83"/>
        </a:spcAft>
        <a:buNone/>
        <a:defRPr sz="2100" b="1" i="0" kern="1200">
          <a:solidFill>
            <a:schemeClr val="accent1"/>
          </a:solidFill>
          <a:latin typeface="Arial" panose="020B0604020202020204" pitchFamily="34" charset="0"/>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sz="1500" b="0" i="0" kern="1200" baseline="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52"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08" userDrawn="1">
          <p15:clr>
            <a:srgbClr val="F26B43"/>
          </p15:clr>
        </p15:guide>
        <p15:guide id="6" orient="horz"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EAF2777-10EC-430C-BC16-CA18ACB4CD98}"/>
              </a:ext>
            </a:extLst>
          </p:cNvPr>
          <p:cNvGraphicFramePr>
            <a:graphicFrameLocks noChangeAspect="1"/>
          </p:cNvGraphicFramePr>
          <p:nvPr userDrawn="1">
            <p:custDataLst>
              <p:tags r:id="rId3"/>
            </p:custDataLst>
            <p:extLst>
              <p:ext uri="{D42A27DB-BD31-4B8C-83A1-F6EECF244321}">
                <p14:modId xmlns:p14="http://schemas.microsoft.com/office/powerpoint/2010/main" val="249836397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 imgW="306" imgH="305" progId="TCLayout.ActiveDocument.1">
                  <p:embed/>
                </p:oleObj>
              </mc:Choice>
              <mc:Fallback>
                <p:oleObj name="think-cell Slide" r:id="rId5" imgW="306" imgH="305" progId="TCLayout.ActiveDocument.1">
                  <p:embed/>
                  <p:pic>
                    <p:nvPicPr>
                      <p:cNvPr id="17" name="Object 16" hidden="1">
                        <a:extLst>
                          <a:ext uri="{FF2B5EF4-FFF2-40B4-BE49-F238E27FC236}">
                            <a16:creationId xmlns:a16="http://schemas.microsoft.com/office/drawing/2014/main" id="{9EAF2777-10EC-430C-BC16-CA18ACB4CD98}"/>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11EB855-E127-4A9C-A816-E893E464AE45}"/>
              </a:ext>
            </a:extLst>
          </p:cNvPr>
          <p:cNvSpPr/>
          <p:nvPr userDrawn="1">
            <p:custDataLst>
              <p:tags r:id="rId4"/>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5" name="Fußzeilenplatzhalter 4"/>
          <p:cNvSpPr>
            <a:spLocks noGrp="1"/>
          </p:cNvSpPr>
          <p:nvPr>
            <p:ph type="ftr" sz="quarter" idx="3"/>
          </p:nvPr>
        </p:nvSpPr>
        <p:spPr>
          <a:xfrm>
            <a:off x="1026000" y="6516000"/>
            <a:ext cx="5940000" cy="169200"/>
          </a:xfrm>
          <a:prstGeom prst="rect">
            <a:avLst/>
          </a:prstGeom>
        </p:spPr>
        <p:txBody>
          <a:bodyPr vert="horz"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r>
              <a:rPr lang="de-DE" dirty="0">
                <a:solidFill>
                  <a:srgbClr val="000000"/>
                </a:solidFill>
              </a:rPr>
              <a:t>| Optional</a:t>
            </a:r>
          </a:p>
        </p:txBody>
      </p:sp>
      <p:sp>
        <p:nvSpPr>
          <p:cNvPr id="4" name="Datumsplatzhalter 3"/>
          <p:cNvSpPr>
            <a:spLocks noGrp="1"/>
          </p:cNvSpPr>
          <p:nvPr>
            <p:ph type="dt" sz="half" idx="2"/>
          </p:nvPr>
        </p:nvSpPr>
        <p:spPr>
          <a:xfrm>
            <a:off x="515700" y="6516000"/>
            <a:ext cx="351000" cy="151200"/>
          </a:xfrm>
          <a:prstGeom prst="rect">
            <a:avLst/>
          </a:prstGeom>
        </p:spPr>
        <p:txBody>
          <a:bodyPr vert="horz" wrap="none"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fld id="{C2DB60D2-BC6A-46E6-9CF7-E32531D2CD29}" type="datetime1">
              <a:rPr lang="de-DE" smtClean="0">
                <a:solidFill>
                  <a:srgbClr val="000000"/>
                </a:solidFill>
              </a:rPr>
              <a:pPr>
                <a:defRPr/>
              </a:pPr>
              <a:t>19.12.23</a:t>
            </a:fld>
            <a:endParaRPr lang="de-DE" dirty="0">
              <a:solidFill>
                <a:srgbClr val="000000"/>
              </a:solidFill>
            </a:endParaRPr>
          </a:p>
        </p:txBody>
      </p:sp>
      <p:sp>
        <p:nvSpPr>
          <p:cNvPr id="6" name="Foliennummernplatzhalter 5"/>
          <p:cNvSpPr>
            <a:spLocks noGrp="1"/>
          </p:cNvSpPr>
          <p:nvPr>
            <p:ph type="sldNum" sz="quarter" idx="4"/>
          </p:nvPr>
        </p:nvSpPr>
        <p:spPr>
          <a:xfrm>
            <a:off x="170100" y="6516000"/>
            <a:ext cx="270000" cy="151200"/>
          </a:xfrm>
          <a:prstGeom prst="rect">
            <a:avLst/>
          </a:prstGeom>
        </p:spPr>
        <p:txBody>
          <a:bodyPr vert="horz" lIns="0" tIns="0" rIns="0" bIns="0" rtlCol="0" anchor="t">
            <a:noAutofit/>
          </a:bodyPr>
          <a:lstStyle>
            <a:lvl1pPr marL="0" algn="l" defTabSz="685800" rtl="0" eaLnBrk="1" latinLnBrk="0" hangingPunct="1">
              <a:lnSpc>
                <a:spcPct val="100000"/>
              </a:lnSpc>
              <a:spcBef>
                <a:spcPts val="83"/>
              </a:spcBef>
              <a:spcAft>
                <a:spcPts val="83"/>
              </a:spcAft>
              <a:buNone/>
              <a:defRPr sz="675" b="1" i="0">
                <a:solidFill>
                  <a:schemeClr val="tx1"/>
                </a:solidFill>
                <a:latin typeface="+mn-lt"/>
              </a:defRPr>
            </a:lvl1pPr>
          </a:lstStyle>
          <a:p>
            <a:pPr>
              <a:defRPr/>
            </a:pPr>
            <a:fld id="{D7C0CCF7-DF53-4ADB-AAD8-9742C01AD446}" type="slidenum">
              <a:rPr lang="de-DE" smtClean="0">
                <a:solidFill>
                  <a:srgbClr val="000000"/>
                </a:solidFill>
              </a:rPr>
              <a:pPr>
                <a:defRPr/>
              </a:pPr>
              <a:t>‹#›</a:t>
            </a:fld>
            <a:endParaRPr lang="de-DE" dirty="0">
              <a:solidFill>
                <a:srgbClr val="000000"/>
              </a:solidFill>
            </a:endParaRPr>
          </a:p>
        </p:txBody>
      </p:sp>
      <p:sp>
        <p:nvSpPr>
          <p:cNvPr id="8" name="Title Placeholder 7">
            <a:extLst>
              <a:ext uri="{FF2B5EF4-FFF2-40B4-BE49-F238E27FC236}">
                <a16:creationId xmlns:a16="http://schemas.microsoft.com/office/drawing/2014/main" id="{B16A5E9B-EFB9-4B52-A5B2-2AD62A660A51}"/>
              </a:ext>
            </a:extLst>
          </p:cNvPr>
          <p:cNvSpPr>
            <a:spLocks noGrp="1"/>
          </p:cNvSpPr>
          <p:nvPr>
            <p:ph type="title"/>
          </p:nvPr>
        </p:nvSpPr>
        <p:spPr>
          <a:xfrm>
            <a:off x="164700" y="432000"/>
            <a:ext cx="8802000" cy="853200"/>
          </a:xfrm>
          <a:prstGeom prst="rect">
            <a:avLst/>
          </a:prstGeom>
        </p:spPr>
        <p:txBody>
          <a:bodyPr vert="horz" lIns="0" tIns="0" rIns="0" bIns="0" rtlCol="0" anchor="t">
            <a:noAutofit/>
          </a:bodyPr>
          <a:lstStyle/>
          <a:p>
            <a:r>
              <a:rPr lang="en-US"/>
              <a:t>Click to edit Master title style</a:t>
            </a:r>
          </a:p>
        </p:txBody>
      </p:sp>
      <p:sp>
        <p:nvSpPr>
          <p:cNvPr id="9" name="Text Placeholder 8">
            <a:extLst>
              <a:ext uri="{FF2B5EF4-FFF2-40B4-BE49-F238E27FC236}">
                <a16:creationId xmlns:a16="http://schemas.microsoft.com/office/drawing/2014/main" id="{218DF943-E989-4392-A2D1-120E2182345F}"/>
              </a:ext>
            </a:extLst>
          </p:cNvPr>
          <p:cNvSpPr>
            <a:spLocks noGrp="1"/>
          </p:cNvSpPr>
          <p:nvPr>
            <p:ph type="body" idx="1"/>
          </p:nvPr>
        </p:nvSpPr>
        <p:spPr>
          <a:xfrm>
            <a:off x="159300" y="1965600"/>
            <a:ext cx="88155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hidden="1">
            <a:extLst>
              <a:ext uri="{FF2B5EF4-FFF2-40B4-BE49-F238E27FC236}">
                <a16:creationId xmlns:a16="http://schemas.microsoft.com/office/drawing/2014/main" id="{8F0144A4-E519-43A6-A6F5-84271746B8EE}"/>
              </a:ext>
            </a:extLst>
          </p:cNvPr>
          <p:cNvGrpSpPr/>
          <p:nvPr userDrawn="1"/>
        </p:nvGrpSpPr>
        <p:grpSpPr>
          <a:xfrm>
            <a:off x="7200900" y="6091200"/>
            <a:ext cx="1944000" cy="540000"/>
            <a:chOff x="9601200" y="6091200"/>
            <a:chExt cx="2592000" cy="540000"/>
          </a:xfrm>
        </p:grpSpPr>
        <p:sp>
          <p:nvSpPr>
            <p:cNvPr id="10" name="Rechteck 9" hidden="1">
              <a:extLst>
                <a:ext uri="{FF2B5EF4-FFF2-40B4-BE49-F238E27FC236}">
                  <a16:creationId xmlns:a16="http://schemas.microsoft.com/office/drawing/2014/main" id="{197E5F5D-9039-493D-9DC1-A5E70DAEDE09}"/>
                </a:ext>
              </a:extLst>
            </p:cNvPr>
            <p:cNvSpPr/>
            <p:nvPr userDrawn="1"/>
          </p:nvSpPr>
          <p:spPr>
            <a:xfrm>
              <a:off x="96012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dirty="0">
                <a:ln>
                  <a:noFill/>
                </a:ln>
                <a:solidFill>
                  <a:srgbClr val="FFFFFF"/>
                </a:solidFill>
                <a:effectLst/>
                <a:uLnTx/>
                <a:uFillTx/>
                <a:latin typeface="Arial" panose="020B0604020202020204"/>
                <a:cs typeface="Arial"/>
              </a:endParaRPr>
            </a:p>
          </p:txBody>
        </p:sp>
        <p:pic>
          <p:nvPicPr>
            <p:cNvPr id="11" name="Grafik 10" hidden="1">
              <a:extLst>
                <a:ext uri="{FF2B5EF4-FFF2-40B4-BE49-F238E27FC236}">
                  <a16:creationId xmlns:a16="http://schemas.microsoft.com/office/drawing/2014/main" id="{30DF2564-4DFA-485C-B2BF-1D3760A3874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34400" y="6224400"/>
              <a:ext cx="808391" cy="292882"/>
            </a:xfrm>
            <a:prstGeom prst="rect">
              <a:avLst/>
            </a:prstGeom>
          </p:spPr>
        </p:pic>
        <p:pic>
          <p:nvPicPr>
            <p:cNvPr id="14" name="Picture 13" hidden="1">
              <a:extLst>
                <a:ext uri="{FF2B5EF4-FFF2-40B4-BE49-F238E27FC236}">
                  <a16:creationId xmlns:a16="http://schemas.microsoft.com/office/drawing/2014/main" id="{F4320BB3-C926-4D02-A26C-2E9F315B3229}"/>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10812791" y="6214680"/>
              <a:ext cx="586800" cy="293400"/>
            </a:xfrm>
            <a:prstGeom prst="rect">
              <a:avLst/>
            </a:prstGeom>
          </p:spPr>
        </p:pic>
        <p:cxnSp>
          <p:nvCxnSpPr>
            <p:cNvPr id="12" name="Straight Connector 11" hidden="1">
              <a:extLst>
                <a:ext uri="{FF2B5EF4-FFF2-40B4-BE49-F238E27FC236}">
                  <a16:creationId xmlns:a16="http://schemas.microsoft.com/office/drawing/2014/main" id="{22470838-5317-4ECE-BE40-BBD900505915}"/>
                </a:ext>
              </a:extLst>
            </p:cNvPr>
            <p:cNvCxnSpPr/>
            <p:nvPr/>
          </p:nvCxnSpPr>
          <p:spPr>
            <a:xfrm>
              <a:off x="10677791" y="6158700"/>
              <a:ext cx="0" cy="405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2" name="MSIPCMContentMarking" descr="{&quot;HashCode&quot;:2082987499,&quot;Placement&quot;:&quot;Footer&quot;,&quot;Top&quot;:520.3781,&quot;Left&quot;:332.558044,&quot;SlideWidth&quot;:720,&quot;SlideHeight&quot;:540}">
            <a:extLst>
              <a:ext uri="{FF2B5EF4-FFF2-40B4-BE49-F238E27FC236}">
                <a16:creationId xmlns:a16="http://schemas.microsoft.com/office/drawing/2014/main" id="{68543A38-E40B-4905-8E22-E50CA3E0632F}"/>
              </a:ext>
            </a:extLst>
          </p:cNvPr>
          <p:cNvSpPr txBox="1"/>
          <p:nvPr userDrawn="1"/>
        </p:nvSpPr>
        <p:spPr>
          <a:xfrm>
            <a:off x="4223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dirty="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2754789995"/>
      </p:ext>
    </p:extLst>
  </p:cSld>
  <p:clrMap bg1="lt1" tx1="dk1" bg2="lt2" tx2="dk2" accent1="accent1" accent2="accent2" accent3="accent3" accent4="accent4" accent5="accent5" accent6="accent6" hlink="hlink" folHlink="folHlink"/>
  <p:sldLayoutIdLst>
    <p:sldLayoutId id="2147483764" r:id="rId1"/>
  </p:sldLayoutIdLst>
  <p:hf hdr="0" ftr="0"/>
  <p:txStyles>
    <p:titleStyle>
      <a:lvl1pPr algn="l" defTabSz="685800" rtl="0" eaLnBrk="1" latinLnBrk="0" hangingPunct="1">
        <a:lnSpc>
          <a:spcPct val="100000"/>
        </a:lnSpc>
        <a:spcBef>
          <a:spcPts val="83"/>
        </a:spcBef>
        <a:spcAft>
          <a:spcPts val="83"/>
        </a:spcAft>
        <a:buNone/>
        <a:defRPr sz="2100" b="1" i="0" kern="1200">
          <a:solidFill>
            <a:schemeClr val="accent1"/>
          </a:solidFill>
          <a:latin typeface="Arial" panose="020B0604020202020204" pitchFamily="34" charset="0"/>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sz="1500" b="0" i="0" kern="1200" baseline="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52"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08" userDrawn="1">
          <p15:clr>
            <a:srgbClr val="F26B43"/>
          </p15:clr>
        </p15:guide>
        <p15:guide id="6" orient="horz"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1400504785"/>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k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MSIPCMContentMarking" descr="{&quot;HashCode&quot;:2082987499,&quot;Placement&quot;:&quot;Footer&quot;,&quot;Top&quot;:520.3781,&quot;Left&quot;:332.558044,&quot;SlideWidth&quot;:720,&quot;SlideHeight&quot;:540}">
            <a:extLst>
              <a:ext uri="{FF2B5EF4-FFF2-40B4-BE49-F238E27FC236}">
                <a16:creationId xmlns:a16="http://schemas.microsoft.com/office/drawing/2014/main" id="{A2EE3C92-21F1-4A2C-9D82-F20B80C58E73}"/>
              </a:ext>
            </a:extLst>
          </p:cNvPr>
          <p:cNvSpPr txBox="1"/>
          <p:nvPr userDrawn="1"/>
        </p:nvSpPr>
        <p:spPr>
          <a:xfrm>
            <a:off x="4223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dirty="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1949120226"/>
      </p:ext>
    </p:extLst>
  </p:cSld>
  <p:clrMap bg1="lt1" tx1="dk1" bg2="lt2" tx2="dk2" accent1="accent1" accent2="accent2" accent3="accent3" accent4="accent4" accent5="accent5" accent6="accent6" hlink="hlink" folHlink="folHlink"/>
  <p:sldLayoutIdLst>
    <p:sldLayoutId id="2147483761" r:id="rId1"/>
  </p:sldLayoutIdLst>
  <p:hf hdr="0" ftr="0" dt="0"/>
  <p:txStyles>
    <p:titleStyle>
      <a:lvl1pPr algn="l" defTabSz="685800" rtl="0" eaLnBrk="1" latinLnBrk="0" hangingPunct="1">
        <a:lnSpc>
          <a:spcPct val="100000"/>
        </a:lnSpc>
        <a:spcBef>
          <a:spcPct val="110000"/>
        </a:spcBef>
        <a:spcAft>
          <a:spcPct val="110000"/>
        </a:spcAft>
        <a:buNone/>
        <a:defRPr sz="2250" b="1" i="0" kern="1200">
          <a:solidFill>
            <a:srgbClr val="000000"/>
          </a:solidFill>
          <a:latin typeface="Arial"/>
          <a:ea typeface="+mj-ea"/>
          <a:cs typeface="+mj-cs"/>
        </a:defRPr>
      </a:lvl1pPr>
    </p:titleStyle>
    <p:bodyStyle>
      <a:lvl1pPr marL="257175" indent="-257175" algn="l" defTabSz="685800"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13" indent="-214313" algn="l" defTabSz="685800"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2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1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0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5.xml"/><Relationship Id="rId7" Type="http://schemas.openxmlformats.org/officeDocument/2006/relationships/image" Target="../media/image9.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png"/><Relationship Id="rId11" Type="http://schemas.openxmlformats.org/officeDocument/2006/relationships/image" Target="../media/image11.png"/><Relationship Id="rId5" Type="http://schemas.openxmlformats.org/officeDocument/2006/relationships/notesSlide" Target="../notesSlides/notesSlide1.xml"/><Relationship Id="rId10" Type="http://schemas.openxmlformats.org/officeDocument/2006/relationships/image" Target="../media/image10.png"/><Relationship Id="rId4" Type="http://schemas.openxmlformats.org/officeDocument/2006/relationships/slideLayout" Target="../slideLayouts/slideLayout1.xml"/><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37.png"/><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33.xml"/><Relationship Id="rId4" Type="http://schemas.openxmlformats.org/officeDocument/2006/relationships/image" Target="../media/image39.svg"/></Relationships>
</file>

<file path=ppt/slides/_rels/slide13.xml.rels><?xml version="1.0" encoding="UTF-8" standalone="yes"?>
<Relationships xmlns="http://schemas.openxmlformats.org/package/2006/relationships"><Relationship Id="rId8" Type="http://schemas.openxmlformats.org/officeDocument/2006/relationships/image" Target="../media/image44.jp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10" Type="http://schemas.openxmlformats.org/officeDocument/2006/relationships/image" Target="../media/image46.svg"/><Relationship Id="rId4" Type="http://schemas.openxmlformats.org/officeDocument/2006/relationships/diagramLayout" Target="../diagrams/layout6.xml"/><Relationship Id="rId9"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jp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jpeg"/></Relationships>
</file>

<file path=ppt/slides/_rels/slide1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8.xml"/><Relationship Id="rId1" Type="http://schemas.openxmlformats.org/officeDocument/2006/relationships/slideLayout" Target="../slideLayouts/slideLayout33.xml"/><Relationship Id="rId4" Type="http://schemas.openxmlformats.org/officeDocument/2006/relationships/image" Target="../media/image59.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9.xml"/><Relationship Id="rId1" Type="http://schemas.openxmlformats.org/officeDocument/2006/relationships/tags" Target="../tags/tag21.xml"/><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16.xml"/><Relationship Id="rId4" Type="http://schemas.openxmlformats.org/officeDocument/2006/relationships/image" Target="../media/image12.tiff"/></Relationships>
</file>

<file path=ppt/slides/_rels/slide20.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Colors" Target="../diagrams/colors9.xml"/><Relationship Id="rId11" Type="http://schemas.microsoft.com/office/2007/relationships/hdphoto" Target="../media/hdphoto1.wdp"/><Relationship Id="rId5" Type="http://schemas.openxmlformats.org/officeDocument/2006/relationships/diagramQuickStyle" Target="../diagrams/quickStyle9.xml"/><Relationship Id="rId10" Type="http://schemas.openxmlformats.org/officeDocument/2006/relationships/image" Target="../media/image62.png"/><Relationship Id="rId4" Type="http://schemas.openxmlformats.org/officeDocument/2006/relationships/diagramLayout" Target="../diagrams/layout9.xml"/><Relationship Id="rId9" Type="http://schemas.openxmlformats.org/officeDocument/2006/relationships/hyperlink" Target="https://www.kpmb.com/wp-content/uploads/2021/04/KPMB-LAB_Embodied-Carbon-in-Insulation.pdf"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1.xml"/><Relationship Id="rId1" Type="http://schemas.openxmlformats.org/officeDocument/2006/relationships/slideLayout" Target="../slideLayouts/slideLayout24.xml"/><Relationship Id="rId5" Type="http://schemas.openxmlformats.org/officeDocument/2006/relationships/image" Target="../media/image65.jpeg"/><Relationship Id="rId4" Type="http://schemas.openxmlformats.org/officeDocument/2006/relationships/image" Target="../media/image64.jpeg"/></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hyperlink" Target="https://www.vinylsiding.org/why-vinyl/sustainability/" TargetMode="External"/><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microsoft.com/office/2007/relationships/hdphoto" Target="../media/hdphoto3.wdp"/><Relationship Id="rId5" Type="http://schemas.openxmlformats.org/officeDocument/2006/relationships/image" Target="../media/image67.png"/><Relationship Id="rId4" Type="http://schemas.microsoft.com/office/2007/relationships/hdphoto" Target="../media/hdphoto2.wdp"/></Relationships>
</file>

<file path=ppt/slides/_rels/slide2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diagramColors" Target="../diagrams/colors10.xml"/><Relationship Id="rId5" Type="http://schemas.openxmlformats.org/officeDocument/2006/relationships/diagramQuickStyle" Target="../diagrams/quickStyle10.xml"/><Relationship Id="rId10" Type="http://schemas.openxmlformats.org/officeDocument/2006/relationships/hyperlink" Target="https://www.vinylsiding.org/wp-content/uploads/2022/07/InsulatedVinylSiding_VSI_EPD_Template_April2022.vs11.pdf" TargetMode="External"/><Relationship Id="rId4" Type="http://schemas.openxmlformats.org/officeDocument/2006/relationships/diagramLayout" Target="../diagrams/layout10.xml"/><Relationship Id="rId9" Type="http://schemas.microsoft.com/office/2007/relationships/hdphoto" Target="../media/hdphoto4.wdp"/></Relationships>
</file>

<file path=ppt/slides/_rels/slide2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hyperlink" Target="https://www.progressivefoam.com/wp-content/uploads/LCA-Summary-Sheet.pdf" TargetMode="External"/></Relationships>
</file>

<file path=ppt/slides/_rels/slide25.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70.jpg"/><Relationship Id="rId7" Type="http://schemas.openxmlformats.org/officeDocument/2006/relationships/diagramColors" Target="../diagrams/colors11.xml"/><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13.jpg"/></Relationships>
</file>

<file path=ppt/slides/_rels/slide30.xml.rels><?xml version="1.0" encoding="UTF-8" standalone="yes"?>
<Relationships xmlns="http://schemas.openxmlformats.org/package/2006/relationships"><Relationship Id="rId8" Type="http://schemas.openxmlformats.org/officeDocument/2006/relationships/hyperlink" Target="https://www.vinylsiding.org/wp-content/uploads/2022/07/InsulatedVinylSiding_VSI_EPD_Template_April2022.vs11.pdf" TargetMode="External"/><Relationship Id="rId3" Type="http://schemas.openxmlformats.org/officeDocument/2006/relationships/hyperlink" Target="https://www.progressivefoam.com/product/insulated-vinyl-siding-" TargetMode="External"/><Relationship Id="rId7" Type="http://schemas.openxmlformats.org/officeDocument/2006/relationships/hyperlink" Target="https://info.nsf.org/Certified/Sustain/ProdCert/EPD10327.pdf" TargetMode="External"/><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hyperlink" Target="https://neopor.basf.us/files/pdf/XPS_Neopor_Sub_Packet.pdf" TargetMode="External"/><Relationship Id="rId5" Type="http://schemas.openxmlformats.org/officeDocument/2006/relationships/hyperlink" Target="https://neopor.basf.us/carbon" TargetMode="External"/><Relationship Id="rId4" Type="http://schemas.openxmlformats.org/officeDocument/2006/relationships/hyperlink" Target="https://neopor.basf.us/residential/above-grade-walls" TargetMode="External"/><Relationship Id="rId9" Type="http://schemas.openxmlformats.org/officeDocument/2006/relationships/hyperlink" Target="https://www.kpmb.com/lab/embodied-carbon-values-in-common-insulation-materials/"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6.sv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36.jpg"/><Relationship Id="rId4"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alphaModFix amt="24010"/>
            <a:lum/>
          </a:blip>
          <a:srcRect/>
          <a:stretch>
            <a:fillRect/>
          </a:stretch>
        </a:blip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944C944-8F1B-D1E9-D36B-1C00287139E5}"/>
              </a:ext>
            </a:extLst>
          </p:cNvPr>
          <p:cNvPicPr>
            <a:picLocks noChangeAspect="1"/>
          </p:cNvPicPr>
          <p:nvPr/>
        </p:nvPicPr>
        <p:blipFill>
          <a:blip r:embed="rId7">
            <a:alphaModFix amt="48000"/>
          </a:blip>
          <a:stretch>
            <a:fillRect/>
          </a:stretch>
        </p:blipFill>
        <p:spPr>
          <a:xfrm>
            <a:off x="0" y="772555"/>
            <a:ext cx="9144000" cy="6085445"/>
          </a:xfrm>
          <a:prstGeom prst="rect">
            <a:avLst/>
          </a:prstGeom>
        </p:spPr>
      </p:pic>
      <p:graphicFrame>
        <p:nvGraphicFramePr>
          <p:cNvPr id="4" name="Object 3" hidden="1">
            <a:extLst>
              <a:ext uri="{FF2B5EF4-FFF2-40B4-BE49-F238E27FC236}">
                <a16:creationId xmlns:a16="http://schemas.microsoft.com/office/drawing/2014/main" id="{61D0D264-3C20-4DB9-B449-0D984235D588}"/>
              </a:ext>
            </a:extLst>
          </p:cNvPr>
          <p:cNvGraphicFramePr>
            <a:graphicFrameLocks noChangeAspect="1"/>
          </p:cNvGraphicFramePr>
          <p:nvPr>
            <p:custDataLst>
              <p:tags r:id="rId2"/>
            </p:custDataLst>
            <p:extLst>
              <p:ext uri="{D42A27DB-BD31-4B8C-83A1-F6EECF244321}">
                <p14:modId xmlns:p14="http://schemas.microsoft.com/office/powerpoint/2010/main" val="3564938392"/>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8" imgW="306" imgH="305" progId="TCLayout.ActiveDocument.1">
                  <p:embed/>
                </p:oleObj>
              </mc:Choice>
              <mc:Fallback>
                <p:oleObj name="think-cell Slide" r:id="rId8" imgW="306" imgH="305" progId="TCLayout.ActiveDocument.1">
                  <p:embed/>
                  <p:pic>
                    <p:nvPicPr>
                      <p:cNvPr id="4" name="Object 3" hidden="1">
                        <a:extLst>
                          <a:ext uri="{FF2B5EF4-FFF2-40B4-BE49-F238E27FC236}">
                            <a16:creationId xmlns:a16="http://schemas.microsoft.com/office/drawing/2014/main" id="{61D0D264-3C20-4DB9-B449-0D984235D588}"/>
                          </a:ext>
                        </a:extLst>
                      </p:cNvPr>
                      <p:cNvPicPr/>
                      <p:nvPr/>
                    </p:nvPicPr>
                    <p:blipFill>
                      <a:blip r:embed="rId9"/>
                      <a:stretch>
                        <a:fillRect/>
                      </a:stretch>
                    </p:blipFill>
                    <p:spPr>
                      <a:xfrm>
                        <a:off x="1191" y="858441"/>
                        <a:ext cx="1191" cy="1191"/>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69E1A69B-B101-47FD-98DC-4293792145A8}"/>
              </a:ext>
            </a:extLst>
          </p:cNvPr>
          <p:cNvSpPr txBox="1">
            <a:spLocks/>
          </p:cNvSpPr>
          <p:nvPr>
            <p:custDataLst>
              <p:tags r:id="rId3"/>
            </p:custDataLst>
          </p:nvPr>
        </p:nvSpPr>
        <p:spPr>
          <a:xfrm>
            <a:off x="0" y="4608551"/>
            <a:ext cx="9144000" cy="1325161"/>
          </a:xfrm>
          <a:prstGeom prst="rect">
            <a:avLst/>
          </a:prstGeom>
          <a:solidFill>
            <a:schemeClr val="accent6"/>
          </a:solidFill>
          <a:ln>
            <a:noFill/>
          </a:ln>
        </p:spPr>
        <p:txBody>
          <a:bodyPr lIns="182880" tIns="182880" rIns="18288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gn="ctr"/>
            <a:r>
              <a:rPr lang="en-US" b="0" i="0" u="none" strike="noStrike" dirty="0">
                <a:solidFill>
                  <a:schemeClr val="bg1"/>
                </a:solidFill>
                <a:effectLst/>
                <a:latin typeface="Architype"/>
              </a:rPr>
              <a:t>ENVIRONMENTAL PRODUCT DECLARATIONS (EPDs)</a:t>
            </a:r>
          </a:p>
          <a:p>
            <a:pPr algn="ctr"/>
            <a:r>
              <a:rPr lang="en-US" b="0" i="0" u="none" strike="noStrike" dirty="0">
                <a:solidFill>
                  <a:schemeClr val="bg1"/>
                </a:solidFill>
                <a:effectLst/>
                <a:latin typeface="Architype"/>
              </a:rPr>
              <a:t> &amp; GRAPHITE POLYSTYRENE INSULATED VINYL SIDING</a:t>
            </a:r>
          </a:p>
        </p:txBody>
      </p:sp>
      <p:grpSp>
        <p:nvGrpSpPr>
          <p:cNvPr id="8" name="Group 7">
            <a:extLst>
              <a:ext uri="{FF2B5EF4-FFF2-40B4-BE49-F238E27FC236}">
                <a16:creationId xmlns:a16="http://schemas.microsoft.com/office/drawing/2014/main" id="{2CEF021D-F574-4F82-981C-53DB73C4E78E}"/>
              </a:ext>
            </a:extLst>
          </p:cNvPr>
          <p:cNvGrpSpPr/>
          <p:nvPr/>
        </p:nvGrpSpPr>
        <p:grpSpPr>
          <a:xfrm>
            <a:off x="0" y="-57717"/>
            <a:ext cx="9144000" cy="810000"/>
            <a:chOff x="6095999" y="863086"/>
            <a:chExt cx="15631199" cy="1080000"/>
          </a:xfrm>
        </p:grpSpPr>
        <p:sp>
          <p:nvSpPr>
            <p:cNvPr id="10" name="Rechteck 9">
              <a:extLst>
                <a:ext uri="{FF2B5EF4-FFF2-40B4-BE49-F238E27FC236}">
                  <a16:creationId xmlns:a16="http://schemas.microsoft.com/office/drawing/2014/main" id="{E477BB4F-3F74-431D-9A40-E148F0265FA8}"/>
                </a:ext>
              </a:extLst>
            </p:cNvPr>
            <p:cNvSpPr>
              <a:spLocks noChangeAspect="1"/>
            </p:cNvSpPr>
            <p:nvPr userDrawn="1"/>
          </p:nvSpPr>
          <p:spPr>
            <a:xfrm>
              <a:off x="6095999" y="863086"/>
              <a:ext cx="15631199" cy="1080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pic>
          <p:nvPicPr>
            <p:cNvPr id="12" name="Grafik 11">
              <a:extLst>
                <a:ext uri="{FF2B5EF4-FFF2-40B4-BE49-F238E27FC236}">
                  <a16:creationId xmlns:a16="http://schemas.microsoft.com/office/drawing/2014/main" id="{AD10E663-BDE1-499C-9C27-A1367760C45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9837197"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13" name="Grafik 12">
              <a:extLst>
                <a:ext uri="{FF2B5EF4-FFF2-40B4-BE49-F238E27FC236}">
                  <a16:creationId xmlns:a16="http://schemas.microsoft.com/office/drawing/2014/main" id="{F1480813-46D1-4255-805A-35F7C4B9433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366033"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5" name="Picture 4">
              <a:extLst>
                <a:ext uri="{FF2B5EF4-FFF2-40B4-BE49-F238E27FC236}">
                  <a16:creationId xmlns:a16="http://schemas.microsoft.com/office/drawing/2014/main" id="{1F828900-800E-499B-A956-05FCA8C63408}"/>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526034" y="1109686"/>
              <a:ext cx="1173600" cy="586800"/>
            </a:xfrm>
            <a:prstGeom prst="rect">
              <a:avLst/>
            </a:prstGeom>
            <a:noFill/>
            <a:extLst>
              <a:ext uri="{909E8E84-426E-40DD-AFC4-6F175D3DCCD1}">
                <a14:hiddenFill xmlns:a14="http://schemas.microsoft.com/office/drawing/2010/main">
                  <a:solidFill>
                    <a:schemeClr val="accent1"/>
                  </a:solidFill>
                </a14:hiddenFill>
              </a:ext>
            </a:extLst>
          </p:spPr>
        </p:pic>
        <p:pic>
          <p:nvPicPr>
            <p:cNvPr id="7" name="Picture 6">
              <a:extLst>
                <a:ext uri="{FF2B5EF4-FFF2-40B4-BE49-F238E27FC236}">
                  <a16:creationId xmlns:a16="http://schemas.microsoft.com/office/drawing/2014/main" id="{8FCC26BA-B83C-456A-A2DA-9D3B02C9E17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8123596" y="1109686"/>
              <a:ext cx="1173600" cy="586800"/>
            </a:xfrm>
            <a:prstGeom prst="rect">
              <a:avLst/>
            </a:prstGeom>
            <a:noFill/>
            <a:extLst>
              <a:ext uri="{909E8E84-426E-40DD-AFC4-6F175D3DCCD1}">
                <a14:hiddenFill xmlns:a14="http://schemas.microsoft.com/office/drawing/2010/main">
                  <a:solidFill>
                    <a:schemeClr val="accent1"/>
                  </a:solidFill>
                </a14:hiddenFill>
              </a:ext>
            </a:extLst>
          </p:spPr>
        </p:pic>
        <p:cxnSp>
          <p:nvCxnSpPr>
            <p:cNvPr id="2" name="Straight Connector 1">
              <a:extLst>
                <a:ext uri="{FF2B5EF4-FFF2-40B4-BE49-F238E27FC236}">
                  <a16:creationId xmlns:a16="http://schemas.microsoft.com/office/drawing/2014/main" id="{50A6D6D4-B1BC-405D-9EB3-EDFEA8750D9E}"/>
                </a:ext>
              </a:extLst>
            </p:cNvPr>
            <p:cNvCxnSpPr/>
            <p:nvPr/>
          </p:nvCxnSpPr>
          <p:spPr>
            <a:xfrm>
              <a:off x="8256034" y="998086"/>
              <a:ext cx="0" cy="810000"/>
            </a:xfrm>
            <a:prstGeom prst="line">
              <a:avLst/>
            </a:prstGeom>
            <a:ln w="1524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319F25A7-3341-4ADC-ACCA-A5C692641DCD}"/>
                </a:ext>
              </a:extLst>
            </p:cNvPr>
            <p:cNvCxnSpPr/>
            <p:nvPr/>
          </p:nvCxnSpPr>
          <p:spPr>
            <a:xfrm>
              <a:off x="19567195" y="998086"/>
              <a:ext cx="0" cy="810000"/>
            </a:xfrm>
            <a:prstGeom prst="line">
              <a:avLst/>
            </a:prstGeom>
            <a:ln w="15240">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9" name="TextBox 8">
            <a:extLst>
              <a:ext uri="{FF2B5EF4-FFF2-40B4-BE49-F238E27FC236}">
                <a16:creationId xmlns:a16="http://schemas.microsoft.com/office/drawing/2014/main" id="{DE5DA327-8359-460E-073B-61D4D8FC715A}"/>
              </a:ext>
            </a:extLst>
          </p:cNvPr>
          <p:cNvSpPr txBox="1"/>
          <p:nvPr/>
        </p:nvSpPr>
        <p:spPr>
          <a:xfrm>
            <a:off x="914461" y="6211190"/>
            <a:ext cx="7315077" cy="369332"/>
          </a:xfrm>
          <a:prstGeom prst="rect">
            <a:avLst/>
          </a:prstGeom>
          <a:noFill/>
        </p:spPr>
        <p:txBody>
          <a:bodyPr wrap="square">
            <a:spAutoFit/>
          </a:bodyPr>
          <a:lstStyle/>
          <a:p>
            <a:r>
              <a:rPr lang="en-US" sz="1800" dirty="0">
                <a:cs typeface="Arial" panose="020B0604020202020204" pitchFamily="34" charset="0"/>
              </a:rPr>
              <a:t>Provider Number </a:t>
            </a:r>
            <a:r>
              <a:rPr lang="en-US" sz="1800" b="0" i="0" u="none" strike="noStrike" dirty="0">
                <a:solidFill>
                  <a:srgbClr val="231F20"/>
                </a:solidFill>
                <a:effectLst/>
                <a:latin typeface="+mn-lt"/>
              </a:rPr>
              <a:t>50111211 </a:t>
            </a:r>
            <a:r>
              <a:rPr lang="en-US" sz="1800" dirty="0"/>
              <a:t>| AIA Credit: 0.5 HSW | Course </a:t>
            </a:r>
            <a:r>
              <a:rPr lang="en-US" dirty="0"/>
              <a:t>31</a:t>
            </a:r>
            <a:r>
              <a:rPr lang="en-US" sz="1800" dirty="0"/>
              <a:t> </a:t>
            </a:r>
            <a:endParaRPr lang="en-US" sz="1800" b="1" dirty="0"/>
          </a:p>
        </p:txBody>
      </p:sp>
    </p:spTree>
    <p:custDataLst>
      <p:tags r:id="rId1"/>
    </p:custDataLst>
    <p:extLst>
      <p:ext uri="{BB962C8B-B14F-4D97-AF65-F5344CB8AC3E}">
        <p14:creationId xmlns:p14="http://schemas.microsoft.com/office/powerpoint/2010/main" val="25211437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1F8091A1-6753-9062-897E-0EE75EBCDCAD}"/>
              </a:ext>
            </a:extLst>
          </p:cNvPr>
          <p:cNvPicPr>
            <a:picLocks noChangeAspect="1" noChangeArrowheads="1"/>
          </p:cNvPicPr>
          <p:nvPr/>
        </p:nvPicPr>
        <p:blipFill>
          <a:blip r:embed="rId3">
            <a:alphaModFix/>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478468" y="1217536"/>
            <a:ext cx="7272663" cy="27664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pic>
      <p:graphicFrame>
        <p:nvGraphicFramePr>
          <p:cNvPr id="23" name="Diagram 22">
            <a:extLst>
              <a:ext uri="{FF2B5EF4-FFF2-40B4-BE49-F238E27FC236}">
                <a16:creationId xmlns:a16="http://schemas.microsoft.com/office/drawing/2014/main" id="{C70AFC5A-6F85-3140-C930-23F3C2331615}"/>
              </a:ext>
            </a:extLst>
          </p:cNvPr>
          <p:cNvGraphicFramePr/>
          <p:nvPr>
            <p:extLst>
              <p:ext uri="{D42A27DB-BD31-4B8C-83A1-F6EECF244321}">
                <p14:modId xmlns:p14="http://schemas.microsoft.com/office/powerpoint/2010/main" val="4031913902"/>
              </p:ext>
            </p:extLst>
          </p:nvPr>
        </p:nvGraphicFramePr>
        <p:xfrm>
          <a:off x="727456" y="4440626"/>
          <a:ext cx="4722758" cy="15678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a:extLst>
              <a:ext uri="{FF2B5EF4-FFF2-40B4-BE49-F238E27FC236}">
                <a16:creationId xmlns:a16="http://schemas.microsoft.com/office/drawing/2014/main" id="{C3194AA8-535A-254D-B141-8007462BF746}"/>
              </a:ext>
            </a:extLst>
          </p:cNvPr>
          <p:cNvSpPr txBox="1"/>
          <p:nvPr/>
        </p:nvSpPr>
        <p:spPr>
          <a:xfrm>
            <a:off x="1523951" y="3624392"/>
            <a:ext cx="245327" cy="276999"/>
          </a:xfrm>
          <a:prstGeom prst="rect">
            <a:avLst/>
          </a:prstGeom>
          <a:noFill/>
        </p:spPr>
        <p:txBody>
          <a:bodyPr wrap="square" lIns="0" tIns="0" rIns="0" bIns="0" rtlCol="0">
            <a:spAutoFit/>
          </a:bodyPr>
          <a:lstStyle/>
          <a:p>
            <a:r>
              <a:rPr lang="en-US" dirty="0">
                <a:solidFill>
                  <a:schemeClr val="bg1"/>
                </a:solidFill>
              </a:rPr>
              <a:t>*</a:t>
            </a:r>
          </a:p>
        </p:txBody>
      </p:sp>
      <p:sp>
        <p:nvSpPr>
          <p:cNvPr id="9" name="Rectangle 8">
            <a:extLst>
              <a:ext uri="{FF2B5EF4-FFF2-40B4-BE49-F238E27FC236}">
                <a16:creationId xmlns:a16="http://schemas.microsoft.com/office/drawing/2014/main" id="{FC8FAD1C-B4AE-6C7D-A165-94A5FDABC518}"/>
              </a:ext>
            </a:extLst>
          </p:cNvPr>
          <p:cNvSpPr/>
          <p:nvPr/>
        </p:nvSpPr>
        <p:spPr>
          <a:xfrm>
            <a:off x="762264" y="2898552"/>
            <a:ext cx="1396003" cy="5535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n w="10160">
                  <a:solidFill>
                    <a:schemeClr val="accent5"/>
                  </a:solidFill>
                  <a:prstDash val="solid"/>
                </a:ln>
                <a:solidFill>
                  <a:schemeClr val="bg1"/>
                </a:solidFill>
                <a:effectLst>
                  <a:outerShdw blurRad="38100" dist="22860" dir="5400000" algn="tl" rotWithShape="0">
                    <a:srgbClr val="000000">
                      <a:alpha val="30000"/>
                    </a:srgbClr>
                  </a:outerShdw>
                </a:effectLst>
                <a:latin typeface="+mj-lt"/>
              </a:rPr>
              <a:t>Find </a:t>
            </a:r>
          </a:p>
          <a:p>
            <a:pPr algn="ctr"/>
            <a:r>
              <a:rPr lang="en-US" sz="1600" b="1" dirty="0">
                <a:ln w="10160">
                  <a:solidFill>
                    <a:schemeClr val="accent5"/>
                  </a:solidFill>
                  <a:prstDash val="solid"/>
                </a:ln>
                <a:solidFill>
                  <a:schemeClr val="bg1"/>
                </a:solidFill>
                <a:effectLst>
                  <a:outerShdw blurRad="38100" dist="22860" dir="5400000" algn="tl" rotWithShape="0">
                    <a:srgbClr val="000000">
                      <a:alpha val="30000"/>
                    </a:srgbClr>
                  </a:outerShdw>
                </a:effectLst>
                <a:latin typeface="+mj-lt"/>
              </a:rPr>
              <a:t>PCR</a:t>
            </a:r>
          </a:p>
        </p:txBody>
      </p:sp>
      <p:sp>
        <p:nvSpPr>
          <p:cNvPr id="10" name="Rectangle 9">
            <a:extLst>
              <a:ext uri="{FF2B5EF4-FFF2-40B4-BE49-F238E27FC236}">
                <a16:creationId xmlns:a16="http://schemas.microsoft.com/office/drawing/2014/main" id="{85D03014-F04A-9198-7290-5CB080CEE28D}"/>
              </a:ext>
            </a:extLst>
          </p:cNvPr>
          <p:cNvSpPr/>
          <p:nvPr/>
        </p:nvSpPr>
        <p:spPr>
          <a:xfrm>
            <a:off x="2564597" y="1560864"/>
            <a:ext cx="1450554" cy="653136"/>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j-lt"/>
              </a:rPr>
              <a:t>Develop</a:t>
            </a:r>
          </a:p>
          <a:p>
            <a:pPr algn="ctr"/>
            <a:r>
              <a:rPr lang="en-US" sz="16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j-lt"/>
              </a:rPr>
              <a:t>LCA</a:t>
            </a:r>
          </a:p>
        </p:txBody>
      </p:sp>
      <p:sp>
        <p:nvSpPr>
          <p:cNvPr id="11" name="Rectangle 10">
            <a:extLst>
              <a:ext uri="{FF2B5EF4-FFF2-40B4-BE49-F238E27FC236}">
                <a16:creationId xmlns:a16="http://schemas.microsoft.com/office/drawing/2014/main" id="{5F8A9A37-0878-C307-4731-7D1113ABEBA1}"/>
              </a:ext>
            </a:extLst>
          </p:cNvPr>
          <p:cNvSpPr/>
          <p:nvPr/>
        </p:nvSpPr>
        <p:spPr>
          <a:xfrm>
            <a:off x="4571999" y="2925292"/>
            <a:ext cx="1345455" cy="55353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j-lt"/>
              </a:rPr>
              <a:t>Create </a:t>
            </a:r>
          </a:p>
          <a:p>
            <a:pPr algn="ctr"/>
            <a:r>
              <a:rPr lang="en-US" sz="16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j-lt"/>
              </a:rPr>
              <a:t>EPD</a:t>
            </a:r>
          </a:p>
        </p:txBody>
      </p:sp>
      <p:sp>
        <p:nvSpPr>
          <p:cNvPr id="16" name="Rectangle 15">
            <a:extLst>
              <a:ext uri="{FF2B5EF4-FFF2-40B4-BE49-F238E27FC236}">
                <a16:creationId xmlns:a16="http://schemas.microsoft.com/office/drawing/2014/main" id="{3780E771-61D8-366B-40D5-41A2B6EF923E}"/>
              </a:ext>
            </a:extLst>
          </p:cNvPr>
          <p:cNvSpPr/>
          <p:nvPr/>
        </p:nvSpPr>
        <p:spPr>
          <a:xfrm>
            <a:off x="6345359" y="1628499"/>
            <a:ext cx="1405772" cy="58550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j-lt"/>
              </a:rPr>
              <a:t>Register </a:t>
            </a:r>
          </a:p>
          <a:p>
            <a:pPr algn="ctr"/>
            <a:r>
              <a:rPr lang="en-US" sz="16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j-lt"/>
              </a:rPr>
              <a:t>EPD</a:t>
            </a:r>
          </a:p>
        </p:txBody>
      </p:sp>
      <p:sp>
        <p:nvSpPr>
          <p:cNvPr id="17" name="Title 16">
            <a:extLst>
              <a:ext uri="{FF2B5EF4-FFF2-40B4-BE49-F238E27FC236}">
                <a16:creationId xmlns:a16="http://schemas.microsoft.com/office/drawing/2014/main" id="{645E33AE-8633-12F0-66ED-F22B21192455}"/>
              </a:ext>
            </a:extLst>
          </p:cNvPr>
          <p:cNvSpPr>
            <a:spLocks noGrp="1"/>
          </p:cNvSpPr>
          <p:nvPr>
            <p:ph type="title" idx="4294967295"/>
          </p:nvPr>
        </p:nvSpPr>
        <p:spPr>
          <a:xfrm>
            <a:off x="504267" y="619698"/>
            <a:ext cx="8445500" cy="854075"/>
          </a:xfrm>
        </p:spPr>
        <p:txBody>
          <a:bodyPr>
            <a:normAutofit/>
          </a:bodyPr>
          <a:lstStyle/>
          <a:p>
            <a:r>
              <a:rPr lang="en-US" sz="2400" b="1" dirty="0">
                <a:solidFill>
                  <a:schemeClr val="accent1"/>
                </a:solidFill>
              </a:rPr>
              <a:t>Developing an EPD</a:t>
            </a:r>
          </a:p>
        </p:txBody>
      </p:sp>
      <p:sp>
        <p:nvSpPr>
          <p:cNvPr id="2" name="5-Point Star 1">
            <a:extLst>
              <a:ext uri="{FF2B5EF4-FFF2-40B4-BE49-F238E27FC236}">
                <a16:creationId xmlns:a16="http://schemas.microsoft.com/office/drawing/2014/main" id="{A7D0BCA6-0A12-8E08-D3C7-D426699E618B}"/>
              </a:ext>
            </a:extLst>
          </p:cNvPr>
          <p:cNvSpPr/>
          <p:nvPr/>
        </p:nvSpPr>
        <p:spPr>
          <a:xfrm>
            <a:off x="2057851" y="3936553"/>
            <a:ext cx="200833" cy="188463"/>
          </a:xfrm>
          <a:prstGeom prst="star5">
            <a:avLst>
              <a:gd name="adj" fmla="val 2203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5-Point Star 2">
            <a:extLst>
              <a:ext uri="{FF2B5EF4-FFF2-40B4-BE49-F238E27FC236}">
                <a16:creationId xmlns:a16="http://schemas.microsoft.com/office/drawing/2014/main" id="{29F17250-FF6D-E73D-C61A-DA2664C5DF73}"/>
              </a:ext>
            </a:extLst>
          </p:cNvPr>
          <p:cNvSpPr/>
          <p:nvPr/>
        </p:nvSpPr>
        <p:spPr>
          <a:xfrm>
            <a:off x="132838" y="5004486"/>
            <a:ext cx="341312" cy="31663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CA3CE914-783D-330A-895F-361C71EB69D4}"/>
              </a:ext>
            </a:extLst>
          </p:cNvPr>
          <p:cNvSpPr/>
          <p:nvPr/>
        </p:nvSpPr>
        <p:spPr>
          <a:xfrm>
            <a:off x="4114800" y="2520778"/>
            <a:ext cx="612217" cy="1741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22" name="TextBox 10">
            <a:extLst>
              <a:ext uri="{FF2B5EF4-FFF2-40B4-BE49-F238E27FC236}">
                <a16:creationId xmlns:a16="http://schemas.microsoft.com/office/drawing/2014/main" id="{6318ACAF-DB72-A720-CB76-4A81503A42D4}"/>
              </a:ext>
            </a:extLst>
          </p:cNvPr>
          <p:cNvGraphicFramePr/>
          <p:nvPr>
            <p:extLst>
              <p:ext uri="{D42A27DB-BD31-4B8C-83A1-F6EECF244321}">
                <p14:modId xmlns:p14="http://schemas.microsoft.com/office/powerpoint/2010/main" val="1600536724"/>
              </p:ext>
            </p:extLst>
          </p:nvPr>
        </p:nvGraphicFramePr>
        <p:xfrm>
          <a:off x="4342085" y="3478824"/>
          <a:ext cx="5488128" cy="294678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 name="5-Point Star 4">
            <a:extLst>
              <a:ext uri="{FF2B5EF4-FFF2-40B4-BE49-F238E27FC236}">
                <a16:creationId xmlns:a16="http://schemas.microsoft.com/office/drawing/2014/main" id="{B33E4C07-2014-270D-F0BF-CC649EF00C6B}"/>
              </a:ext>
            </a:extLst>
          </p:cNvPr>
          <p:cNvSpPr/>
          <p:nvPr/>
        </p:nvSpPr>
        <p:spPr>
          <a:xfrm>
            <a:off x="5450214" y="3201838"/>
            <a:ext cx="160608" cy="19374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5-Point Star 5">
            <a:extLst>
              <a:ext uri="{FF2B5EF4-FFF2-40B4-BE49-F238E27FC236}">
                <a16:creationId xmlns:a16="http://schemas.microsoft.com/office/drawing/2014/main" id="{3737232D-0684-1544-18EA-51621874D764}"/>
              </a:ext>
            </a:extLst>
          </p:cNvPr>
          <p:cNvSpPr/>
          <p:nvPr/>
        </p:nvSpPr>
        <p:spPr>
          <a:xfrm>
            <a:off x="1708850" y="3030849"/>
            <a:ext cx="142357" cy="183706"/>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1" name="5-Point Star 20">
            <a:extLst>
              <a:ext uri="{FF2B5EF4-FFF2-40B4-BE49-F238E27FC236}">
                <a16:creationId xmlns:a16="http://schemas.microsoft.com/office/drawing/2014/main" id="{FC4B2CE9-AE69-E917-2561-54581E41EDC3}"/>
              </a:ext>
            </a:extLst>
          </p:cNvPr>
          <p:cNvSpPr/>
          <p:nvPr/>
        </p:nvSpPr>
        <p:spPr>
          <a:xfrm>
            <a:off x="3470023" y="1900613"/>
            <a:ext cx="149477" cy="146051"/>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5849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 name="Down Arrow 45">
            <a:extLst>
              <a:ext uri="{FF2B5EF4-FFF2-40B4-BE49-F238E27FC236}">
                <a16:creationId xmlns:a16="http://schemas.microsoft.com/office/drawing/2014/main" id="{BBC4043D-C0C8-EBC4-FDB2-BE9DC3249D13}"/>
              </a:ext>
            </a:extLst>
          </p:cNvPr>
          <p:cNvSpPr/>
          <p:nvPr/>
        </p:nvSpPr>
        <p:spPr>
          <a:xfrm>
            <a:off x="632321" y="3772811"/>
            <a:ext cx="477875" cy="1314447"/>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Down Arrow 44">
            <a:extLst>
              <a:ext uri="{FF2B5EF4-FFF2-40B4-BE49-F238E27FC236}">
                <a16:creationId xmlns:a16="http://schemas.microsoft.com/office/drawing/2014/main" id="{9C19C030-E92D-A271-402F-3DEA5CD87D41}"/>
              </a:ext>
            </a:extLst>
          </p:cNvPr>
          <p:cNvSpPr/>
          <p:nvPr/>
        </p:nvSpPr>
        <p:spPr>
          <a:xfrm>
            <a:off x="636625" y="2761140"/>
            <a:ext cx="484632" cy="495183"/>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Snip Same Side Corner Rectangle 46">
            <a:extLst>
              <a:ext uri="{FF2B5EF4-FFF2-40B4-BE49-F238E27FC236}">
                <a16:creationId xmlns:a16="http://schemas.microsoft.com/office/drawing/2014/main" id="{99A7BF0B-21A2-0110-D142-837E3FBDDB20}"/>
              </a:ext>
            </a:extLst>
          </p:cNvPr>
          <p:cNvSpPr/>
          <p:nvPr/>
        </p:nvSpPr>
        <p:spPr>
          <a:xfrm>
            <a:off x="6953637" y="1385282"/>
            <a:ext cx="1793858" cy="5130058"/>
          </a:xfrm>
          <a:prstGeom prst="snip2Same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Down Arrow 32">
            <a:extLst>
              <a:ext uri="{FF2B5EF4-FFF2-40B4-BE49-F238E27FC236}">
                <a16:creationId xmlns:a16="http://schemas.microsoft.com/office/drawing/2014/main" id="{690E736D-82FA-CD0A-08B5-370A066B51CB}"/>
              </a:ext>
            </a:extLst>
          </p:cNvPr>
          <p:cNvSpPr/>
          <p:nvPr/>
        </p:nvSpPr>
        <p:spPr>
          <a:xfrm>
            <a:off x="710685" y="1806983"/>
            <a:ext cx="330731" cy="472188"/>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1513512" y="2252150"/>
            <a:ext cx="4293462" cy="9565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r>
              <a:rPr lang="en-US" sz="1400" b="1" dirty="0">
                <a:solidFill>
                  <a:schemeClr val="tx1"/>
                </a:solidFill>
              </a:rPr>
              <a:t>Construction Process</a:t>
            </a:r>
          </a:p>
        </p:txBody>
      </p:sp>
      <p:graphicFrame>
        <p:nvGraphicFramePr>
          <p:cNvPr id="16" name="Table 15">
            <a:extLst>
              <a:ext uri="{FF2B5EF4-FFF2-40B4-BE49-F238E27FC236}">
                <a16:creationId xmlns:a16="http://schemas.microsoft.com/office/drawing/2014/main" id="{671379AF-1698-46BE-9A48-73E040DB121C}"/>
              </a:ext>
            </a:extLst>
          </p:cNvPr>
          <p:cNvGraphicFramePr>
            <a:graphicFrameLocks noGrp="1"/>
          </p:cNvGraphicFramePr>
          <p:nvPr>
            <p:extLst>
              <p:ext uri="{D42A27DB-BD31-4B8C-83A1-F6EECF244321}">
                <p14:modId xmlns:p14="http://schemas.microsoft.com/office/powerpoint/2010/main" val="78087870"/>
              </p:ext>
            </p:extLst>
          </p:nvPr>
        </p:nvGraphicFramePr>
        <p:xfrm>
          <a:off x="1499083" y="2657281"/>
          <a:ext cx="4307890" cy="547255"/>
        </p:xfrm>
        <a:graphic>
          <a:graphicData uri="http://schemas.openxmlformats.org/drawingml/2006/table">
            <a:tbl>
              <a:tblPr/>
              <a:tblGrid>
                <a:gridCol w="2334008">
                  <a:extLst>
                    <a:ext uri="{9D8B030D-6E8A-4147-A177-3AD203B41FA5}">
                      <a16:colId xmlns:a16="http://schemas.microsoft.com/office/drawing/2014/main" val="2216640120"/>
                    </a:ext>
                  </a:extLst>
                </a:gridCol>
                <a:gridCol w="1973882">
                  <a:extLst>
                    <a:ext uri="{9D8B030D-6E8A-4147-A177-3AD203B41FA5}">
                      <a16:colId xmlns:a16="http://schemas.microsoft.com/office/drawing/2014/main" val="2087591672"/>
                    </a:ext>
                  </a:extLst>
                </a:gridCol>
              </a:tblGrid>
              <a:tr h="547255">
                <a:tc>
                  <a:txBody>
                    <a:bodyPr/>
                    <a:lstStyle/>
                    <a:p>
                      <a:pPr algn="ctr"/>
                      <a:r>
                        <a:rPr lang="en-US" sz="1100" b="1" dirty="0">
                          <a:solidFill>
                            <a:schemeClr val="bg1"/>
                          </a:solidFill>
                          <a:effectLst/>
                          <a:latin typeface="Arial" panose="020B0604020202020204" pitchFamily="34" charset="0"/>
                        </a:rPr>
                        <a:t>A 4</a:t>
                      </a:r>
                    </a:p>
                    <a:p>
                      <a:pPr algn="ctr"/>
                      <a:r>
                        <a:rPr lang="en-US" sz="1100" dirty="0">
                          <a:solidFill>
                            <a:schemeClr val="bg1"/>
                          </a:solidFill>
                          <a:effectLst/>
                          <a:latin typeface="Arial" panose="020B0604020202020204" pitchFamily="34" charset="0"/>
                        </a:rPr>
                        <a:t>Gate-to-Site Transportation </a:t>
                      </a:r>
                    </a:p>
                  </a:txBody>
                  <a:tcPr marL="47625" marR="47625" marT="0" marB="0" anchor="ctr">
                    <a:lnL>
                      <a:noFill/>
                    </a:lnL>
                    <a:lnR>
                      <a:noFill/>
                    </a:lnR>
                    <a:lnT>
                      <a:noFill/>
                    </a:lnT>
                    <a:lnB>
                      <a:noFill/>
                    </a:lnB>
                  </a:tcPr>
                </a:tc>
                <a:tc>
                  <a:txBody>
                    <a:bodyPr/>
                    <a:lstStyle/>
                    <a:p>
                      <a:pPr algn="ctr"/>
                      <a:r>
                        <a:rPr lang="en-US" sz="1100" b="1" dirty="0">
                          <a:solidFill>
                            <a:schemeClr val="bg1"/>
                          </a:solidFill>
                          <a:effectLst/>
                          <a:latin typeface="Arial" panose="020B0604020202020204" pitchFamily="34" charset="0"/>
                        </a:rPr>
                        <a:t>A 5</a:t>
                      </a:r>
                    </a:p>
                    <a:p>
                      <a:pPr algn="ctr"/>
                      <a:r>
                        <a:rPr lang="en-US" sz="1100" dirty="0">
                          <a:solidFill>
                            <a:schemeClr val="bg1"/>
                          </a:solidFill>
                          <a:effectLst/>
                          <a:latin typeface="Arial" panose="020B0604020202020204" pitchFamily="34" charset="0"/>
                        </a:rPr>
                        <a:t>Assembly </a:t>
                      </a:r>
                    </a:p>
                  </a:txBody>
                  <a:tcPr marL="47625" marR="47625" marT="0" marB="0" anchor="ctr">
                    <a:lnL>
                      <a:noFill/>
                    </a:lnL>
                    <a:lnR>
                      <a:noFill/>
                    </a:lnR>
                    <a:lnT>
                      <a:noFill/>
                    </a:lnT>
                    <a:lnB>
                      <a:noFill/>
                    </a:lnB>
                  </a:tcPr>
                </a:tc>
                <a:extLst>
                  <a:ext uri="{0D108BD9-81ED-4DB2-BD59-A6C34878D82A}">
                    <a16:rowId xmlns:a16="http://schemas.microsoft.com/office/drawing/2014/main" val="2842162867"/>
                  </a:ext>
                </a:extLst>
              </a:tr>
            </a:tbl>
          </a:graphicData>
        </a:graphic>
      </p:graphicFrame>
      <p:sp>
        <p:nvSpPr>
          <p:cNvPr id="4" name="Title 1"/>
          <p:cNvSpPr txBox="1">
            <a:spLocks/>
          </p:cNvSpPr>
          <p:nvPr/>
        </p:nvSpPr>
        <p:spPr>
          <a:xfrm>
            <a:off x="441072" y="369272"/>
            <a:ext cx="8432800" cy="853200"/>
          </a:xfrm>
          <a:prstGeom prst="rect">
            <a:avLst/>
          </a:prstGeom>
        </p:spPr>
        <p:txBody>
          <a:bodyPr/>
          <a:lstStyle>
            <a:lvl1pPr algn="l" defTabSz="685800" rtl="0" eaLnBrk="1" latinLnBrk="0" hangingPunct="1">
              <a:lnSpc>
                <a:spcPct val="90000"/>
              </a:lnSpc>
              <a:spcBef>
                <a:spcPct val="0"/>
              </a:spcBef>
              <a:buNone/>
              <a:defRPr sz="2550" kern="1200">
                <a:solidFill>
                  <a:schemeClr val="accent1"/>
                </a:solidFill>
                <a:latin typeface="+mj-lt"/>
                <a:ea typeface="+mj-ea"/>
                <a:cs typeface="+mj-cs"/>
              </a:defRPr>
            </a:lvl1pPr>
          </a:lstStyle>
          <a:p>
            <a:r>
              <a:rPr lang="en-GB" sz="2400" b="1" dirty="0"/>
              <a:t>EPDs: Based on LIFE CYCLE ASSESSMENTS (LCAs) </a:t>
            </a:r>
            <a:endParaRPr lang="en-US" sz="2400" b="1" dirty="0"/>
          </a:p>
        </p:txBody>
      </p:sp>
      <p:sp>
        <p:nvSpPr>
          <p:cNvPr id="2" name="Rectangle 1"/>
          <p:cNvSpPr/>
          <p:nvPr/>
        </p:nvSpPr>
        <p:spPr>
          <a:xfrm>
            <a:off x="1525447" y="1333523"/>
            <a:ext cx="4293462" cy="845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lgn="ctr"/>
            <a:r>
              <a:rPr lang="en-US" sz="1400" b="1" dirty="0">
                <a:solidFill>
                  <a:schemeClr val="tx1"/>
                </a:solidFill>
              </a:rPr>
              <a:t>Production</a:t>
            </a:r>
          </a:p>
          <a:p>
            <a:pPr algn="ctr"/>
            <a:endParaRPr lang="en-US" sz="1600" dirty="0"/>
          </a:p>
        </p:txBody>
      </p:sp>
      <p:sp>
        <p:nvSpPr>
          <p:cNvPr id="7" name="Rectangle 6"/>
          <p:cNvSpPr/>
          <p:nvPr/>
        </p:nvSpPr>
        <p:spPr>
          <a:xfrm>
            <a:off x="1513512" y="3256323"/>
            <a:ext cx="4293461" cy="17268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rIns="91440" rtlCol="0" anchor="t"/>
          <a:lstStyle/>
          <a:p>
            <a:pPr algn="ctr"/>
            <a:r>
              <a:rPr lang="en-US" sz="1400" b="1" dirty="0">
                <a:solidFill>
                  <a:schemeClr val="tx1"/>
                </a:solidFill>
              </a:rPr>
              <a:t>Use</a:t>
            </a:r>
          </a:p>
        </p:txBody>
      </p:sp>
      <p:sp>
        <p:nvSpPr>
          <p:cNvPr id="8" name="Rectangle 7"/>
          <p:cNvSpPr/>
          <p:nvPr/>
        </p:nvSpPr>
        <p:spPr>
          <a:xfrm>
            <a:off x="1513512" y="5030768"/>
            <a:ext cx="4229503" cy="15923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r>
              <a:rPr lang="en-US" sz="1400" b="1" dirty="0">
                <a:solidFill>
                  <a:schemeClr val="tx1"/>
                </a:solidFill>
              </a:rPr>
              <a:t>End of Life Stage</a:t>
            </a:r>
          </a:p>
        </p:txBody>
      </p:sp>
      <p:sp>
        <p:nvSpPr>
          <p:cNvPr id="3" name="Oval 2"/>
          <p:cNvSpPr/>
          <p:nvPr/>
        </p:nvSpPr>
        <p:spPr>
          <a:xfrm>
            <a:off x="624708" y="1324046"/>
            <a:ext cx="484632" cy="5029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0" name="Oval 9"/>
          <p:cNvSpPr/>
          <p:nvPr/>
        </p:nvSpPr>
        <p:spPr>
          <a:xfrm>
            <a:off x="632321" y="2269390"/>
            <a:ext cx="488935" cy="5639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 name="Oval 10"/>
          <p:cNvSpPr/>
          <p:nvPr/>
        </p:nvSpPr>
        <p:spPr>
          <a:xfrm>
            <a:off x="606812" y="3239814"/>
            <a:ext cx="514444" cy="56938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graphicFrame>
        <p:nvGraphicFramePr>
          <p:cNvPr id="15" name="Table 14">
            <a:extLst>
              <a:ext uri="{FF2B5EF4-FFF2-40B4-BE49-F238E27FC236}">
                <a16:creationId xmlns:a16="http://schemas.microsoft.com/office/drawing/2014/main" id="{C109093E-AA3F-FA7F-2BC6-EFA3832FA381}"/>
              </a:ext>
            </a:extLst>
          </p:cNvPr>
          <p:cNvGraphicFramePr>
            <a:graphicFrameLocks noGrp="1"/>
          </p:cNvGraphicFramePr>
          <p:nvPr>
            <p:extLst>
              <p:ext uri="{D42A27DB-BD31-4B8C-83A1-F6EECF244321}">
                <p14:modId xmlns:p14="http://schemas.microsoft.com/office/powerpoint/2010/main" val="4270911160"/>
              </p:ext>
            </p:extLst>
          </p:nvPr>
        </p:nvGraphicFramePr>
        <p:xfrm>
          <a:off x="1545775" y="1741816"/>
          <a:ext cx="4246769" cy="502920"/>
        </p:xfrm>
        <a:graphic>
          <a:graphicData uri="http://schemas.openxmlformats.org/drawingml/2006/table">
            <a:tbl>
              <a:tblPr/>
              <a:tblGrid>
                <a:gridCol w="1215898">
                  <a:extLst>
                    <a:ext uri="{9D8B030D-6E8A-4147-A177-3AD203B41FA5}">
                      <a16:colId xmlns:a16="http://schemas.microsoft.com/office/drawing/2014/main" val="2540626184"/>
                    </a:ext>
                  </a:extLst>
                </a:gridCol>
                <a:gridCol w="1727200">
                  <a:extLst>
                    <a:ext uri="{9D8B030D-6E8A-4147-A177-3AD203B41FA5}">
                      <a16:colId xmlns:a16="http://schemas.microsoft.com/office/drawing/2014/main" val="353111256"/>
                    </a:ext>
                  </a:extLst>
                </a:gridCol>
                <a:gridCol w="1303671">
                  <a:extLst>
                    <a:ext uri="{9D8B030D-6E8A-4147-A177-3AD203B41FA5}">
                      <a16:colId xmlns:a16="http://schemas.microsoft.com/office/drawing/2014/main" val="934682957"/>
                    </a:ext>
                  </a:extLst>
                </a:gridCol>
              </a:tblGrid>
              <a:tr h="324569">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b="1" dirty="0">
                          <a:solidFill>
                            <a:schemeClr val="bg1"/>
                          </a:solidFill>
                          <a:effectLst/>
                          <a:latin typeface="+mn-lt"/>
                        </a:rPr>
                        <a:t>A1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b="0" dirty="0">
                          <a:solidFill>
                            <a:schemeClr val="bg1"/>
                          </a:solidFill>
                          <a:effectLst/>
                          <a:latin typeface="+mn-lt"/>
                        </a:rPr>
                        <a:t>Raw </a:t>
                      </a:r>
                      <a:r>
                        <a:rPr lang="en-US" sz="1100" kern="1200" dirty="0">
                          <a:solidFill>
                            <a:schemeClr val="bg1"/>
                          </a:solidFill>
                          <a:effectLst/>
                          <a:latin typeface="+mn-lt"/>
                          <a:ea typeface="+mn-ea"/>
                          <a:cs typeface="+mn-cs"/>
                        </a:rPr>
                        <a:t>material</a:t>
                      </a:r>
                    </a:p>
                  </a:txBody>
                  <a:tcPr marL="47625" marR="47625" marT="0" marB="0">
                    <a:lnL>
                      <a:noFill/>
                    </a:lnL>
                    <a:lnR>
                      <a:noFill/>
                    </a:lnR>
                    <a:lnT>
                      <a:noFill/>
                    </a:lnT>
                    <a:lnB>
                      <a:noFill/>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b="1" dirty="0">
                          <a:solidFill>
                            <a:schemeClr val="bg1"/>
                          </a:solidFill>
                          <a:effectLst/>
                          <a:latin typeface="+mn-lt"/>
                        </a:rPr>
                        <a:t>A2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effectLst/>
                          <a:latin typeface="+mn-lt"/>
                          <a:ea typeface="+mn-ea"/>
                          <a:cs typeface="+mn-cs"/>
                        </a:rPr>
                        <a:t>Transport</a:t>
                      </a:r>
                    </a:p>
                    <a:p>
                      <a:pPr algn="ctr"/>
                      <a:endParaRPr lang="en-US" sz="1100" dirty="0">
                        <a:solidFill>
                          <a:schemeClr val="bg1"/>
                        </a:solidFill>
                        <a:effectLst/>
                        <a:latin typeface="+mn-lt"/>
                      </a:endParaRPr>
                    </a:p>
                  </a:txBody>
                  <a:tcPr marL="47625" marR="47625" marT="0" marB="0" anchor="ctr">
                    <a:lnL>
                      <a:noFill/>
                    </a:lnL>
                    <a:lnR>
                      <a:noFill/>
                    </a:lnR>
                    <a:lnT>
                      <a:noFill/>
                    </a:lnT>
                    <a:lnB>
                      <a:noFill/>
                    </a:lnB>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b="1" dirty="0">
                          <a:solidFill>
                            <a:schemeClr val="bg1"/>
                          </a:solidFill>
                          <a:effectLst/>
                          <a:latin typeface="+mn-lt"/>
                        </a:rPr>
                        <a:t>A3</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effectLst/>
                          <a:latin typeface="+mn-lt"/>
                          <a:ea typeface="+mn-ea"/>
                          <a:cs typeface="+mn-cs"/>
                        </a:rPr>
                        <a:t>Manufacturing</a:t>
                      </a:r>
                    </a:p>
                    <a:p>
                      <a:pPr algn="ctr"/>
                      <a:r>
                        <a:rPr lang="en-US" sz="1100" b="1" dirty="0">
                          <a:solidFill>
                            <a:schemeClr val="bg1"/>
                          </a:solidFill>
                          <a:effectLst/>
                          <a:latin typeface="+mn-lt"/>
                        </a:rPr>
                        <a:t> </a:t>
                      </a:r>
                      <a:endParaRPr lang="en-US" sz="1100" dirty="0">
                        <a:solidFill>
                          <a:schemeClr val="bg1"/>
                        </a:solidFill>
                        <a:effectLst/>
                        <a:latin typeface="+mn-lt"/>
                      </a:endParaRPr>
                    </a:p>
                  </a:txBody>
                  <a:tcPr marL="47625" marR="47625" marT="0" marB="0">
                    <a:lnL>
                      <a:noFill/>
                    </a:lnL>
                    <a:lnR>
                      <a:noFill/>
                    </a:lnR>
                    <a:lnT>
                      <a:noFill/>
                    </a:lnT>
                    <a:lnB>
                      <a:noFill/>
                    </a:lnB>
                  </a:tcPr>
                </a:tc>
                <a:extLst>
                  <a:ext uri="{0D108BD9-81ED-4DB2-BD59-A6C34878D82A}">
                    <a16:rowId xmlns:a16="http://schemas.microsoft.com/office/drawing/2014/main" val="3658857812"/>
                  </a:ext>
                </a:extLst>
              </a:tr>
            </a:tbl>
          </a:graphicData>
        </a:graphic>
      </p:graphicFrame>
      <p:graphicFrame>
        <p:nvGraphicFramePr>
          <p:cNvPr id="17" name="Table 16">
            <a:extLst>
              <a:ext uri="{FF2B5EF4-FFF2-40B4-BE49-F238E27FC236}">
                <a16:creationId xmlns:a16="http://schemas.microsoft.com/office/drawing/2014/main" id="{3A298491-96B5-751A-5D8F-70D4CDB5326C}"/>
              </a:ext>
            </a:extLst>
          </p:cNvPr>
          <p:cNvGraphicFramePr>
            <a:graphicFrameLocks noGrp="1"/>
          </p:cNvGraphicFramePr>
          <p:nvPr>
            <p:extLst>
              <p:ext uri="{D42A27DB-BD31-4B8C-83A1-F6EECF244321}">
                <p14:modId xmlns:p14="http://schemas.microsoft.com/office/powerpoint/2010/main" val="3995013714"/>
              </p:ext>
            </p:extLst>
          </p:nvPr>
        </p:nvGraphicFramePr>
        <p:xfrm>
          <a:off x="1545775" y="3608690"/>
          <a:ext cx="4223422" cy="502920"/>
        </p:xfrm>
        <a:graphic>
          <a:graphicData uri="http://schemas.openxmlformats.org/drawingml/2006/table">
            <a:tbl>
              <a:tblPr/>
              <a:tblGrid>
                <a:gridCol w="1223574">
                  <a:extLst>
                    <a:ext uri="{9D8B030D-6E8A-4147-A177-3AD203B41FA5}">
                      <a16:colId xmlns:a16="http://schemas.microsoft.com/office/drawing/2014/main" val="567136256"/>
                    </a:ext>
                  </a:extLst>
                </a:gridCol>
                <a:gridCol w="982086">
                  <a:extLst>
                    <a:ext uri="{9D8B030D-6E8A-4147-A177-3AD203B41FA5}">
                      <a16:colId xmlns:a16="http://schemas.microsoft.com/office/drawing/2014/main" val="3273137141"/>
                    </a:ext>
                  </a:extLst>
                </a:gridCol>
                <a:gridCol w="846280">
                  <a:extLst>
                    <a:ext uri="{9D8B030D-6E8A-4147-A177-3AD203B41FA5}">
                      <a16:colId xmlns:a16="http://schemas.microsoft.com/office/drawing/2014/main" val="1189580439"/>
                    </a:ext>
                  </a:extLst>
                </a:gridCol>
                <a:gridCol w="1171482">
                  <a:extLst>
                    <a:ext uri="{9D8B030D-6E8A-4147-A177-3AD203B41FA5}">
                      <a16:colId xmlns:a16="http://schemas.microsoft.com/office/drawing/2014/main" val="2540206427"/>
                    </a:ext>
                  </a:extLst>
                </a:gridCol>
              </a:tblGrid>
              <a:tr h="0">
                <a:tc>
                  <a:txBody>
                    <a:bodyPr/>
                    <a:lstStyle/>
                    <a:p>
                      <a:pPr algn="ctr"/>
                      <a:r>
                        <a:rPr lang="en-US" sz="1100" b="1" dirty="0">
                          <a:solidFill>
                            <a:schemeClr val="bg1"/>
                          </a:solidFill>
                          <a:effectLst/>
                          <a:latin typeface="Arial" panose="020B0604020202020204" pitchFamily="34" charset="0"/>
                        </a:rPr>
                        <a:t>B1</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Use </a:t>
                      </a:r>
                    </a:p>
                  </a:txBody>
                  <a:tcPr marL="47625" marR="47625" marT="0" marB="0">
                    <a:lnL>
                      <a:noFill/>
                    </a:lnL>
                    <a:lnR>
                      <a:noFill/>
                    </a:lnR>
                    <a:lnT>
                      <a:noFill/>
                    </a:lnT>
                    <a:lnB>
                      <a:noFill/>
                    </a:lnB>
                  </a:tcPr>
                </a:tc>
                <a:tc>
                  <a:txBody>
                    <a:bodyPr/>
                    <a:lstStyle/>
                    <a:p>
                      <a:pPr algn="ctr"/>
                      <a:r>
                        <a:rPr lang="en-US" sz="1100" b="1" dirty="0">
                          <a:solidFill>
                            <a:schemeClr val="bg1"/>
                          </a:solidFill>
                          <a:effectLst/>
                          <a:latin typeface="Arial" panose="020B0604020202020204" pitchFamily="34" charset="0"/>
                        </a:rPr>
                        <a:t>B2</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Maintenance</a:t>
                      </a:r>
                    </a:p>
                  </a:txBody>
                  <a:tcPr marL="47625" marR="47625" marT="0" marB="0">
                    <a:lnL>
                      <a:noFill/>
                    </a:lnL>
                    <a:lnR>
                      <a:noFill/>
                    </a:lnR>
                    <a:lnT>
                      <a:noFill/>
                    </a:lnT>
                    <a:lnB>
                      <a:noFill/>
                    </a:lnB>
                  </a:tcPr>
                </a:tc>
                <a:tc>
                  <a:txBody>
                    <a:bodyPr/>
                    <a:lstStyle/>
                    <a:p>
                      <a:pPr algn="ctr"/>
                      <a:r>
                        <a:rPr lang="en-US" sz="1100" b="1" dirty="0">
                          <a:solidFill>
                            <a:schemeClr val="bg1"/>
                          </a:solidFill>
                          <a:effectLst/>
                          <a:latin typeface="Arial" panose="020B0604020202020204" pitchFamily="34" charset="0"/>
                        </a:rPr>
                        <a:t>B3</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Repair </a:t>
                      </a:r>
                    </a:p>
                  </a:txBody>
                  <a:tcPr marL="47625" marR="47625" marT="0" marB="0">
                    <a:lnL>
                      <a:noFill/>
                    </a:lnL>
                    <a:lnR>
                      <a:noFill/>
                    </a:lnR>
                    <a:lnT>
                      <a:noFill/>
                    </a:lnT>
                    <a:lnB>
                      <a:noFill/>
                    </a:lnB>
                  </a:tcPr>
                </a:tc>
                <a:tc>
                  <a:txBody>
                    <a:bodyPr/>
                    <a:lstStyle/>
                    <a:p>
                      <a:pPr algn="ctr"/>
                      <a:r>
                        <a:rPr lang="en-US" sz="1100" b="1" dirty="0">
                          <a:solidFill>
                            <a:schemeClr val="bg1"/>
                          </a:solidFill>
                          <a:effectLst/>
                          <a:latin typeface="Arial" panose="020B0604020202020204" pitchFamily="34" charset="0"/>
                        </a:rPr>
                        <a:t>B4</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Replacement </a:t>
                      </a:r>
                    </a:p>
                  </a:txBody>
                  <a:tcPr marL="47625" marR="47625" marT="0" marB="0">
                    <a:lnL>
                      <a:noFill/>
                    </a:lnL>
                    <a:lnR>
                      <a:noFill/>
                    </a:lnR>
                    <a:lnT>
                      <a:noFill/>
                    </a:lnT>
                    <a:lnB>
                      <a:noFill/>
                    </a:lnB>
                  </a:tcPr>
                </a:tc>
                <a:extLst>
                  <a:ext uri="{0D108BD9-81ED-4DB2-BD59-A6C34878D82A}">
                    <a16:rowId xmlns:a16="http://schemas.microsoft.com/office/drawing/2014/main" val="954877369"/>
                  </a:ext>
                </a:extLst>
              </a:tr>
            </a:tbl>
          </a:graphicData>
        </a:graphic>
      </p:graphicFrame>
      <p:graphicFrame>
        <p:nvGraphicFramePr>
          <p:cNvPr id="18" name="Table 17">
            <a:extLst>
              <a:ext uri="{FF2B5EF4-FFF2-40B4-BE49-F238E27FC236}">
                <a16:creationId xmlns:a16="http://schemas.microsoft.com/office/drawing/2014/main" id="{707E74F5-398B-4350-6E7B-031D1A19D9D5}"/>
              </a:ext>
            </a:extLst>
          </p:cNvPr>
          <p:cNvGraphicFramePr>
            <a:graphicFrameLocks noGrp="1"/>
          </p:cNvGraphicFramePr>
          <p:nvPr>
            <p:extLst>
              <p:ext uri="{D42A27DB-BD31-4B8C-83A1-F6EECF244321}">
                <p14:modId xmlns:p14="http://schemas.microsoft.com/office/powerpoint/2010/main" val="3339016447"/>
              </p:ext>
            </p:extLst>
          </p:nvPr>
        </p:nvGraphicFramePr>
        <p:xfrm>
          <a:off x="1525447" y="4209872"/>
          <a:ext cx="4267093" cy="670560"/>
        </p:xfrm>
        <a:graphic>
          <a:graphicData uri="http://schemas.openxmlformats.org/drawingml/2006/table">
            <a:tbl>
              <a:tblPr/>
              <a:tblGrid>
                <a:gridCol w="1263934">
                  <a:extLst>
                    <a:ext uri="{9D8B030D-6E8A-4147-A177-3AD203B41FA5}">
                      <a16:colId xmlns:a16="http://schemas.microsoft.com/office/drawing/2014/main" val="567136256"/>
                    </a:ext>
                  </a:extLst>
                </a:gridCol>
                <a:gridCol w="1764146">
                  <a:extLst>
                    <a:ext uri="{9D8B030D-6E8A-4147-A177-3AD203B41FA5}">
                      <a16:colId xmlns:a16="http://schemas.microsoft.com/office/drawing/2014/main" val="74899597"/>
                    </a:ext>
                  </a:extLst>
                </a:gridCol>
                <a:gridCol w="1239013">
                  <a:extLst>
                    <a:ext uri="{9D8B030D-6E8A-4147-A177-3AD203B41FA5}">
                      <a16:colId xmlns:a16="http://schemas.microsoft.com/office/drawing/2014/main" val="2335137758"/>
                    </a:ext>
                  </a:extLst>
                </a:gridCol>
              </a:tblGrid>
              <a:tr h="529102">
                <a:tc>
                  <a:txBody>
                    <a:bodyPr/>
                    <a:lstStyle/>
                    <a:p>
                      <a:pPr algn="ctr"/>
                      <a:endParaRPr lang="en-US" sz="1100" b="1" dirty="0">
                        <a:solidFill>
                          <a:schemeClr val="bg1"/>
                        </a:solidFill>
                        <a:effectLst/>
                        <a:latin typeface="Arial" panose="020B0604020202020204" pitchFamily="34" charset="0"/>
                      </a:endParaRPr>
                    </a:p>
                    <a:p>
                      <a:pPr algn="ctr"/>
                      <a:r>
                        <a:rPr lang="en-US" sz="1100" b="1" dirty="0">
                          <a:solidFill>
                            <a:schemeClr val="bg1"/>
                          </a:solidFill>
                          <a:effectLst/>
                          <a:latin typeface="Arial" panose="020B0604020202020204" pitchFamily="34" charset="0"/>
                        </a:rPr>
                        <a:t>B5</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Refurbishment </a:t>
                      </a:r>
                    </a:p>
                  </a:txBody>
                  <a:tcPr marL="47625" marR="47625" marT="0" marB="0">
                    <a:lnL>
                      <a:noFill/>
                    </a:lnL>
                    <a:lnR>
                      <a:noFill/>
                    </a:lnR>
                    <a:lnT>
                      <a:noFill/>
                    </a:lnT>
                    <a:lnB>
                      <a:noFill/>
                    </a:lnB>
                  </a:tcPr>
                </a:tc>
                <a:tc>
                  <a:txBody>
                    <a:bodyPr/>
                    <a:lstStyle/>
                    <a:p>
                      <a:pPr algn="ctr"/>
                      <a:endParaRPr lang="en-US" sz="1100" b="1" dirty="0">
                        <a:solidFill>
                          <a:schemeClr val="bg1"/>
                        </a:solidFill>
                        <a:effectLst/>
                        <a:latin typeface="Arial" panose="020B0604020202020204" pitchFamily="34" charset="0"/>
                      </a:endParaRPr>
                    </a:p>
                    <a:p>
                      <a:pPr algn="ctr"/>
                      <a:r>
                        <a:rPr lang="en-US" sz="1100" b="1" dirty="0">
                          <a:solidFill>
                            <a:schemeClr val="bg1"/>
                          </a:solidFill>
                          <a:effectLst/>
                          <a:latin typeface="Arial" panose="020B0604020202020204" pitchFamily="34" charset="0"/>
                        </a:rPr>
                        <a:t>B6</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Operational Energy</a:t>
                      </a:r>
                    </a:p>
                  </a:txBody>
                  <a:tcPr marL="47625" marR="47625" marT="0" marB="0">
                    <a:lnL>
                      <a:noFill/>
                    </a:lnL>
                    <a:lnR>
                      <a:noFill/>
                    </a:lnR>
                    <a:lnT>
                      <a:noFill/>
                    </a:lnT>
                    <a:lnB>
                      <a:noFill/>
                    </a:lnB>
                  </a:tcPr>
                </a:tc>
                <a:tc>
                  <a:txBody>
                    <a:bodyPr/>
                    <a:lstStyle/>
                    <a:p>
                      <a:pPr algn="ctr"/>
                      <a:endParaRPr lang="en-US" sz="1100" b="1" dirty="0">
                        <a:solidFill>
                          <a:schemeClr val="bg1"/>
                        </a:solidFill>
                        <a:effectLst/>
                        <a:latin typeface="Arial" panose="020B0604020202020204" pitchFamily="34" charset="0"/>
                      </a:endParaRPr>
                    </a:p>
                    <a:p>
                      <a:pPr algn="ctr"/>
                      <a:r>
                        <a:rPr lang="en-US" sz="1100" b="1" dirty="0">
                          <a:solidFill>
                            <a:schemeClr val="bg1"/>
                          </a:solidFill>
                          <a:effectLst/>
                          <a:latin typeface="Arial" panose="020B0604020202020204" pitchFamily="34" charset="0"/>
                        </a:rPr>
                        <a:t>B7</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Operational Water</a:t>
                      </a:r>
                    </a:p>
                  </a:txBody>
                  <a:tcPr marL="47625" marR="47625" marT="0" marB="0">
                    <a:lnL>
                      <a:noFill/>
                    </a:lnL>
                    <a:lnR>
                      <a:noFill/>
                    </a:lnR>
                    <a:lnT>
                      <a:noFill/>
                    </a:lnT>
                    <a:lnB>
                      <a:noFill/>
                    </a:lnB>
                  </a:tcPr>
                </a:tc>
                <a:extLst>
                  <a:ext uri="{0D108BD9-81ED-4DB2-BD59-A6C34878D82A}">
                    <a16:rowId xmlns:a16="http://schemas.microsoft.com/office/drawing/2014/main" val="954877369"/>
                  </a:ext>
                </a:extLst>
              </a:tr>
            </a:tbl>
          </a:graphicData>
        </a:graphic>
      </p:graphicFrame>
      <p:cxnSp>
        <p:nvCxnSpPr>
          <p:cNvPr id="20" name="Straight Connector 19">
            <a:extLst>
              <a:ext uri="{FF2B5EF4-FFF2-40B4-BE49-F238E27FC236}">
                <a16:creationId xmlns:a16="http://schemas.microsoft.com/office/drawing/2014/main" id="{C20FDF76-C3DD-986F-8FE9-5056CBDDB29A}"/>
              </a:ext>
            </a:extLst>
          </p:cNvPr>
          <p:cNvCxnSpPr>
            <a:cxnSpLocks/>
          </p:cNvCxnSpPr>
          <p:nvPr/>
        </p:nvCxnSpPr>
        <p:spPr>
          <a:xfrm>
            <a:off x="1634837" y="4268889"/>
            <a:ext cx="4045527" cy="0"/>
          </a:xfrm>
          <a:prstGeom prst="line">
            <a:avLst/>
          </a:prstGeom>
          <a:ln w="19050">
            <a:solidFill>
              <a:schemeClr val="tx2">
                <a:lumMod val="20000"/>
                <a:lumOff val="80000"/>
              </a:schemeClr>
            </a:solidFill>
          </a:ln>
        </p:spPr>
        <p:style>
          <a:lnRef idx="1">
            <a:schemeClr val="accent5"/>
          </a:lnRef>
          <a:fillRef idx="0">
            <a:schemeClr val="accent5"/>
          </a:fillRef>
          <a:effectRef idx="0">
            <a:schemeClr val="accent5"/>
          </a:effectRef>
          <a:fontRef idx="minor">
            <a:schemeClr val="tx1"/>
          </a:fontRef>
        </p:style>
      </p:cxnSp>
      <p:graphicFrame>
        <p:nvGraphicFramePr>
          <p:cNvPr id="21" name="Table 20">
            <a:extLst>
              <a:ext uri="{FF2B5EF4-FFF2-40B4-BE49-F238E27FC236}">
                <a16:creationId xmlns:a16="http://schemas.microsoft.com/office/drawing/2014/main" id="{3A223B04-1503-AAAE-2D11-C3EB1AED4ADE}"/>
              </a:ext>
            </a:extLst>
          </p:cNvPr>
          <p:cNvGraphicFramePr>
            <a:graphicFrameLocks noGrp="1"/>
          </p:cNvGraphicFramePr>
          <p:nvPr>
            <p:extLst>
              <p:ext uri="{D42A27DB-BD31-4B8C-83A1-F6EECF244321}">
                <p14:modId xmlns:p14="http://schemas.microsoft.com/office/powerpoint/2010/main" val="2177386505"/>
              </p:ext>
            </p:extLst>
          </p:nvPr>
        </p:nvGraphicFramePr>
        <p:xfrm>
          <a:off x="1495721" y="5364961"/>
          <a:ext cx="4230102" cy="670560"/>
        </p:xfrm>
        <a:graphic>
          <a:graphicData uri="http://schemas.openxmlformats.org/drawingml/2006/table">
            <a:tbl>
              <a:tblPr/>
              <a:tblGrid>
                <a:gridCol w="1289603">
                  <a:extLst>
                    <a:ext uri="{9D8B030D-6E8A-4147-A177-3AD203B41FA5}">
                      <a16:colId xmlns:a16="http://schemas.microsoft.com/office/drawing/2014/main" val="2652587708"/>
                    </a:ext>
                  </a:extLst>
                </a:gridCol>
                <a:gridCol w="767293">
                  <a:extLst>
                    <a:ext uri="{9D8B030D-6E8A-4147-A177-3AD203B41FA5}">
                      <a16:colId xmlns:a16="http://schemas.microsoft.com/office/drawing/2014/main" val="1372321252"/>
                    </a:ext>
                  </a:extLst>
                </a:gridCol>
                <a:gridCol w="1157574">
                  <a:extLst>
                    <a:ext uri="{9D8B030D-6E8A-4147-A177-3AD203B41FA5}">
                      <a16:colId xmlns:a16="http://schemas.microsoft.com/office/drawing/2014/main" val="3478843189"/>
                    </a:ext>
                  </a:extLst>
                </a:gridCol>
                <a:gridCol w="1015632">
                  <a:extLst>
                    <a:ext uri="{9D8B030D-6E8A-4147-A177-3AD203B41FA5}">
                      <a16:colId xmlns:a16="http://schemas.microsoft.com/office/drawing/2014/main" val="2862272229"/>
                    </a:ext>
                  </a:extLst>
                </a:gridCol>
              </a:tblGrid>
              <a:tr h="502920">
                <a:tc>
                  <a:txBody>
                    <a:bodyPr/>
                    <a:lstStyle/>
                    <a:p>
                      <a:pPr algn="ctr"/>
                      <a:r>
                        <a:rPr lang="en-US" sz="1100" b="1" dirty="0">
                          <a:solidFill>
                            <a:schemeClr val="bg1"/>
                          </a:solidFill>
                          <a:effectLst/>
                          <a:latin typeface="Arial" panose="020B0604020202020204" pitchFamily="34" charset="0"/>
                        </a:rPr>
                        <a:t>C1</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Deconstruction </a:t>
                      </a:r>
                    </a:p>
                  </a:txBody>
                  <a:tcPr marL="47625" marR="47625" marT="0" marB="0">
                    <a:lnL>
                      <a:noFill/>
                    </a:lnL>
                    <a:lnR>
                      <a:noFill/>
                    </a:lnR>
                    <a:lnT>
                      <a:noFill/>
                    </a:lnT>
                    <a:lnB>
                      <a:noFill/>
                    </a:lnB>
                  </a:tcPr>
                </a:tc>
                <a:tc>
                  <a:txBody>
                    <a:bodyPr/>
                    <a:lstStyle/>
                    <a:p>
                      <a:pPr algn="ctr"/>
                      <a:r>
                        <a:rPr lang="en-US" sz="1100" b="1" dirty="0">
                          <a:solidFill>
                            <a:schemeClr val="bg1"/>
                          </a:solidFill>
                          <a:effectLst/>
                          <a:latin typeface="Arial" panose="020B0604020202020204" pitchFamily="34" charset="0"/>
                        </a:rPr>
                        <a:t>C2</a:t>
                      </a:r>
                    </a:p>
                    <a:p>
                      <a:pPr algn="ctr"/>
                      <a:endParaRPr lang="en-US" sz="1100" b="1"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Transport </a:t>
                      </a:r>
                    </a:p>
                  </a:txBody>
                  <a:tcPr marL="47625" marR="47625" marT="0" marB="0">
                    <a:lnL>
                      <a:noFill/>
                    </a:lnL>
                    <a:lnR>
                      <a:noFill/>
                    </a:lnR>
                    <a:lnT>
                      <a:noFill/>
                    </a:lnT>
                    <a:lnB>
                      <a:noFill/>
                    </a:lnB>
                  </a:tcPr>
                </a:tc>
                <a:tc>
                  <a:txBody>
                    <a:bodyPr/>
                    <a:lstStyle/>
                    <a:p>
                      <a:pPr algn="ctr"/>
                      <a:r>
                        <a:rPr lang="en-US" sz="1100" b="1" dirty="0">
                          <a:solidFill>
                            <a:schemeClr val="bg1"/>
                          </a:solidFill>
                          <a:effectLst/>
                          <a:latin typeface="Arial" panose="020B0604020202020204" pitchFamily="34" charset="0"/>
                        </a:rPr>
                        <a:t>C3</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Waste processing </a:t>
                      </a:r>
                    </a:p>
                  </a:txBody>
                  <a:tcPr marL="47625" marR="47625" marT="0" marB="0">
                    <a:lnL>
                      <a:noFill/>
                    </a:lnL>
                    <a:lnR>
                      <a:noFill/>
                    </a:lnR>
                    <a:lnT>
                      <a:noFill/>
                    </a:lnT>
                    <a:lnB>
                      <a:noFill/>
                    </a:lnB>
                  </a:tcPr>
                </a:tc>
                <a:tc>
                  <a:txBody>
                    <a:bodyPr/>
                    <a:lstStyle/>
                    <a:p>
                      <a:pPr algn="ctr"/>
                      <a:r>
                        <a:rPr lang="en-US" sz="1100" b="1" dirty="0">
                          <a:solidFill>
                            <a:schemeClr val="bg1"/>
                          </a:solidFill>
                          <a:effectLst/>
                          <a:latin typeface="Arial" panose="020B0604020202020204" pitchFamily="34" charset="0"/>
                        </a:rPr>
                        <a:t>C4</a:t>
                      </a:r>
                    </a:p>
                    <a:p>
                      <a:pPr algn="ct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Disposal </a:t>
                      </a:r>
                    </a:p>
                  </a:txBody>
                  <a:tcPr marL="47625" marR="47625" marT="0" marB="0">
                    <a:lnL>
                      <a:noFill/>
                    </a:lnL>
                    <a:lnR>
                      <a:noFill/>
                    </a:lnR>
                    <a:lnT>
                      <a:noFill/>
                    </a:lnT>
                    <a:lnB>
                      <a:noFill/>
                    </a:lnB>
                  </a:tcPr>
                </a:tc>
                <a:extLst>
                  <a:ext uri="{0D108BD9-81ED-4DB2-BD59-A6C34878D82A}">
                    <a16:rowId xmlns:a16="http://schemas.microsoft.com/office/drawing/2014/main" val="1578953869"/>
                  </a:ext>
                </a:extLst>
              </a:tr>
            </a:tbl>
          </a:graphicData>
        </a:graphic>
      </p:graphicFrame>
      <p:sp>
        <p:nvSpPr>
          <p:cNvPr id="23" name="TextBox 22">
            <a:extLst>
              <a:ext uri="{FF2B5EF4-FFF2-40B4-BE49-F238E27FC236}">
                <a16:creationId xmlns:a16="http://schemas.microsoft.com/office/drawing/2014/main" id="{49933857-1B51-E3C1-008D-B8B45CD3EE7A}"/>
              </a:ext>
            </a:extLst>
          </p:cNvPr>
          <p:cNvSpPr txBox="1"/>
          <p:nvPr/>
        </p:nvSpPr>
        <p:spPr>
          <a:xfrm>
            <a:off x="6916920" y="1448009"/>
            <a:ext cx="1765842" cy="769441"/>
          </a:xfrm>
          <a:prstGeom prst="rect">
            <a:avLst/>
          </a:prstGeom>
          <a:noFill/>
        </p:spPr>
        <p:txBody>
          <a:bodyPr vert="horz" wrap="square" anchor="ctr">
            <a:spAutoFit/>
          </a:bodyPr>
          <a:lstStyle/>
          <a:p>
            <a:pPr marL="7938" algn="ctr" fontAlgn="base"/>
            <a:r>
              <a:rPr lang="en-US" sz="1600" i="0" u="none" strike="noStrike" dirty="0">
                <a:solidFill>
                  <a:schemeClr val="bg1"/>
                </a:solidFill>
                <a:effectLst/>
                <a:latin typeface="+mj-lt"/>
              </a:rPr>
              <a:t>Cradle-to-Gate</a:t>
            </a:r>
            <a:r>
              <a:rPr lang="en-US" sz="1600" b="1" i="0" u="none" strike="noStrike" dirty="0">
                <a:solidFill>
                  <a:schemeClr val="bg1"/>
                </a:solidFill>
                <a:effectLst/>
                <a:latin typeface="+mj-lt"/>
              </a:rPr>
              <a:t> </a:t>
            </a:r>
            <a:r>
              <a:rPr lang="en-US" sz="1600" i="0" u="none" strike="noStrike" dirty="0">
                <a:solidFill>
                  <a:schemeClr val="bg1"/>
                </a:solidFill>
                <a:effectLst/>
                <a:latin typeface="+mj-lt"/>
              </a:rPr>
              <a:t>EPD</a:t>
            </a:r>
            <a:r>
              <a:rPr lang="en-US" sz="1600" b="0" i="0" u="none" strike="noStrike" dirty="0">
                <a:solidFill>
                  <a:schemeClr val="bg1"/>
                </a:solidFill>
                <a:effectLst/>
                <a:latin typeface="+mj-lt"/>
              </a:rPr>
              <a:t> </a:t>
            </a:r>
          </a:p>
          <a:p>
            <a:pPr marL="7938" algn="ctr" fontAlgn="base"/>
            <a:r>
              <a:rPr lang="en-US" sz="1200" b="0" i="0" u="none" strike="noStrike" dirty="0">
                <a:solidFill>
                  <a:schemeClr val="bg1"/>
                </a:solidFill>
                <a:effectLst/>
                <a:latin typeface="+mj-lt"/>
              </a:rPr>
              <a:t> </a:t>
            </a:r>
            <a:endParaRPr lang="en-US" sz="1200" b="1" i="0" u="none" strike="noStrike" dirty="0">
              <a:solidFill>
                <a:schemeClr val="bg1"/>
              </a:solidFill>
              <a:effectLst/>
              <a:latin typeface="+mj-lt"/>
            </a:endParaRPr>
          </a:p>
        </p:txBody>
      </p:sp>
      <p:sp>
        <p:nvSpPr>
          <p:cNvPr id="25" name="TextBox 24">
            <a:extLst>
              <a:ext uri="{FF2B5EF4-FFF2-40B4-BE49-F238E27FC236}">
                <a16:creationId xmlns:a16="http://schemas.microsoft.com/office/drawing/2014/main" id="{B67494A5-65B2-3896-8993-0FAFF4CD150C}"/>
              </a:ext>
            </a:extLst>
          </p:cNvPr>
          <p:cNvSpPr txBox="1"/>
          <p:nvPr/>
        </p:nvSpPr>
        <p:spPr>
          <a:xfrm>
            <a:off x="6953637" y="3684114"/>
            <a:ext cx="1793858" cy="584775"/>
          </a:xfrm>
          <a:prstGeom prst="rect">
            <a:avLst/>
          </a:prstGeom>
          <a:noFill/>
        </p:spPr>
        <p:txBody>
          <a:bodyPr vert="horz" wrap="square">
            <a:spAutoFit/>
          </a:bodyPr>
          <a:lstStyle/>
          <a:p>
            <a:pPr algn="ctr" fontAlgn="base"/>
            <a:r>
              <a:rPr lang="en-US" sz="1600" i="0" u="none" strike="noStrike" dirty="0">
                <a:solidFill>
                  <a:schemeClr val="bg1"/>
                </a:solidFill>
                <a:effectLst/>
                <a:latin typeface="+mj-lt"/>
              </a:rPr>
              <a:t>Cradle-to-Grave</a:t>
            </a:r>
            <a:r>
              <a:rPr lang="en-US" sz="1600" b="1" i="0" u="none" strike="noStrike" dirty="0">
                <a:solidFill>
                  <a:schemeClr val="bg1"/>
                </a:solidFill>
                <a:effectLst/>
                <a:latin typeface="+mj-lt"/>
              </a:rPr>
              <a:t> </a:t>
            </a:r>
            <a:r>
              <a:rPr lang="en-US" sz="1600" i="0" u="none" strike="noStrike" dirty="0">
                <a:solidFill>
                  <a:schemeClr val="bg1"/>
                </a:solidFill>
                <a:effectLst/>
                <a:latin typeface="+mj-lt"/>
              </a:rPr>
              <a:t>EPD</a:t>
            </a:r>
            <a:r>
              <a:rPr lang="en-US" sz="1600" b="0" i="0" u="none" strike="noStrike" dirty="0">
                <a:solidFill>
                  <a:schemeClr val="bg1"/>
                </a:solidFill>
                <a:effectLst/>
                <a:latin typeface="+mj-lt"/>
              </a:rPr>
              <a:t> </a:t>
            </a:r>
          </a:p>
        </p:txBody>
      </p:sp>
      <p:sp>
        <p:nvSpPr>
          <p:cNvPr id="27" name="Right Brace 26">
            <a:extLst>
              <a:ext uri="{FF2B5EF4-FFF2-40B4-BE49-F238E27FC236}">
                <a16:creationId xmlns:a16="http://schemas.microsoft.com/office/drawing/2014/main" id="{E5B2926F-0E7F-CA62-73D5-50A6F615A61D}"/>
              </a:ext>
            </a:extLst>
          </p:cNvPr>
          <p:cNvSpPr/>
          <p:nvPr/>
        </p:nvSpPr>
        <p:spPr>
          <a:xfrm>
            <a:off x="5760806" y="1385282"/>
            <a:ext cx="1164565" cy="5153550"/>
          </a:xfrm>
          <a:prstGeom prst="rightBrace">
            <a:avLst>
              <a:gd name="adj1" fmla="val 8333"/>
              <a:gd name="adj2" fmla="val 50405"/>
            </a:avLst>
          </a:prstGeom>
          <a:solidFill>
            <a:schemeClr val="accent4"/>
          </a:solidFill>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 name="TextBox 33">
            <a:extLst>
              <a:ext uri="{FF2B5EF4-FFF2-40B4-BE49-F238E27FC236}">
                <a16:creationId xmlns:a16="http://schemas.microsoft.com/office/drawing/2014/main" id="{E5C2A2F6-5421-3222-DD69-C5613536B9CF}"/>
              </a:ext>
            </a:extLst>
          </p:cNvPr>
          <p:cNvSpPr txBox="1"/>
          <p:nvPr/>
        </p:nvSpPr>
        <p:spPr>
          <a:xfrm>
            <a:off x="6932938" y="954047"/>
            <a:ext cx="1807054" cy="276999"/>
          </a:xfrm>
          <a:prstGeom prst="rect">
            <a:avLst/>
          </a:prstGeom>
          <a:noFill/>
          <a:ln>
            <a:noFill/>
          </a:ln>
          <a:effectLst>
            <a:softEdge rad="0"/>
          </a:effectLst>
        </p:spPr>
        <p:txBody>
          <a:bodyPr wrap="square" lIns="0" tIns="0" rIns="0" bIns="0" rtlCol="0">
            <a:spAutoFit/>
          </a:bodyPr>
          <a:lstStyle/>
          <a:p>
            <a:pPr algn="ctr"/>
            <a:r>
              <a:rPr lang="en-US" dirty="0"/>
              <a:t> </a:t>
            </a:r>
            <a:r>
              <a:rPr lang="en-US" dirty="0">
                <a:solidFill>
                  <a:schemeClr val="tx1">
                    <a:lumMod val="50000"/>
                    <a:lumOff val="50000"/>
                  </a:schemeClr>
                </a:solidFill>
              </a:rPr>
              <a:t>Scope Options</a:t>
            </a:r>
          </a:p>
        </p:txBody>
      </p:sp>
      <p:sp>
        <p:nvSpPr>
          <p:cNvPr id="37" name="TextBox 36">
            <a:extLst>
              <a:ext uri="{FF2B5EF4-FFF2-40B4-BE49-F238E27FC236}">
                <a16:creationId xmlns:a16="http://schemas.microsoft.com/office/drawing/2014/main" id="{FA6261CE-1873-E61F-2046-4801B5592D09}"/>
              </a:ext>
            </a:extLst>
          </p:cNvPr>
          <p:cNvSpPr txBox="1"/>
          <p:nvPr/>
        </p:nvSpPr>
        <p:spPr>
          <a:xfrm>
            <a:off x="7037620" y="2295744"/>
            <a:ext cx="1568819" cy="461665"/>
          </a:xfrm>
          <a:prstGeom prst="rect">
            <a:avLst/>
          </a:prstGeom>
          <a:noFill/>
        </p:spPr>
        <p:txBody>
          <a:bodyPr wrap="square" lIns="0" tIns="0" rIns="0" bIns="0" rtlCol="0">
            <a:spAutoFit/>
          </a:bodyPr>
          <a:lstStyle/>
          <a:p>
            <a:pPr algn="l" fontAlgn="base"/>
            <a:r>
              <a:rPr lang="en-US" sz="1000" b="0" i="0" u="none" strike="noStrike" dirty="0">
                <a:solidFill>
                  <a:schemeClr val="bg1"/>
                </a:solidFill>
                <a:effectLst/>
                <a:latin typeface="Poppins" pitchFamily="2" charset="77"/>
              </a:rPr>
              <a:t>Can include options and not all, information below</a:t>
            </a:r>
          </a:p>
        </p:txBody>
      </p:sp>
      <p:sp>
        <p:nvSpPr>
          <p:cNvPr id="35" name="5-Point Star 34">
            <a:extLst>
              <a:ext uri="{FF2B5EF4-FFF2-40B4-BE49-F238E27FC236}">
                <a16:creationId xmlns:a16="http://schemas.microsoft.com/office/drawing/2014/main" id="{FB8217D6-B3DF-479D-8087-8E04BCEEBA2A}"/>
              </a:ext>
            </a:extLst>
          </p:cNvPr>
          <p:cNvSpPr/>
          <p:nvPr/>
        </p:nvSpPr>
        <p:spPr>
          <a:xfrm>
            <a:off x="8692291" y="1823385"/>
            <a:ext cx="181581" cy="140803"/>
          </a:xfrm>
          <a:prstGeom prst="star5">
            <a:avLst>
              <a:gd name="adj" fmla="val 22039"/>
              <a:gd name="hf" fmla="val 105146"/>
              <a:gd name="vf" fmla="val 11055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own Arrow 12">
            <a:extLst>
              <a:ext uri="{FF2B5EF4-FFF2-40B4-BE49-F238E27FC236}">
                <a16:creationId xmlns:a16="http://schemas.microsoft.com/office/drawing/2014/main" id="{0CDB0492-A6F7-0FB1-676F-1F41CC0A9CEA}"/>
              </a:ext>
            </a:extLst>
          </p:cNvPr>
          <p:cNvSpPr/>
          <p:nvPr/>
        </p:nvSpPr>
        <p:spPr>
          <a:xfrm>
            <a:off x="631465" y="5364962"/>
            <a:ext cx="477875" cy="670560"/>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Table 4">
            <a:extLst>
              <a:ext uri="{FF2B5EF4-FFF2-40B4-BE49-F238E27FC236}">
                <a16:creationId xmlns:a16="http://schemas.microsoft.com/office/drawing/2014/main" id="{C11C6ECA-6618-8D63-78B3-A40D7D122675}"/>
              </a:ext>
            </a:extLst>
          </p:cNvPr>
          <p:cNvGraphicFramePr>
            <a:graphicFrameLocks noGrp="1"/>
          </p:cNvGraphicFramePr>
          <p:nvPr>
            <p:extLst>
              <p:ext uri="{D42A27DB-BD31-4B8C-83A1-F6EECF244321}">
                <p14:modId xmlns:p14="http://schemas.microsoft.com/office/powerpoint/2010/main" val="2363529330"/>
              </p:ext>
            </p:extLst>
          </p:nvPr>
        </p:nvGraphicFramePr>
        <p:xfrm>
          <a:off x="2371784" y="6184527"/>
          <a:ext cx="2477975" cy="335280"/>
        </p:xfrm>
        <a:graphic>
          <a:graphicData uri="http://schemas.openxmlformats.org/drawingml/2006/table">
            <a:tbl>
              <a:tblPr/>
              <a:tblGrid>
                <a:gridCol w="2477975">
                  <a:extLst>
                    <a:ext uri="{9D8B030D-6E8A-4147-A177-3AD203B41FA5}">
                      <a16:colId xmlns:a16="http://schemas.microsoft.com/office/drawing/2014/main" val="2652587708"/>
                    </a:ext>
                  </a:extLst>
                </a:gridCol>
              </a:tblGrid>
              <a:tr h="334192">
                <a:tc>
                  <a:txBody>
                    <a:bodyPr/>
                    <a:lstStyle/>
                    <a:p>
                      <a:pPr algn="ctr"/>
                      <a:r>
                        <a:rPr lang="en-US" sz="1100" b="1" dirty="0">
                          <a:solidFill>
                            <a:schemeClr val="bg1"/>
                          </a:solidFill>
                          <a:effectLst/>
                          <a:latin typeface="Arial" panose="020B0604020202020204" pitchFamily="34" charset="0"/>
                        </a:rPr>
                        <a:t>D</a:t>
                      </a:r>
                      <a:endParaRPr lang="en-US" sz="1100" dirty="0">
                        <a:solidFill>
                          <a:schemeClr val="bg1"/>
                        </a:solidFill>
                        <a:effectLst/>
                        <a:latin typeface="Arial" panose="020B0604020202020204" pitchFamily="34" charset="0"/>
                      </a:endParaRPr>
                    </a:p>
                    <a:p>
                      <a:pPr algn="ctr"/>
                      <a:r>
                        <a:rPr lang="en-US" sz="1100" dirty="0">
                          <a:solidFill>
                            <a:schemeClr val="bg1"/>
                          </a:solidFill>
                          <a:effectLst/>
                          <a:latin typeface="Arial" panose="020B0604020202020204" pitchFamily="34" charset="0"/>
                        </a:rPr>
                        <a:t>Reuse/ Recovery / Recycling Potential </a:t>
                      </a:r>
                    </a:p>
                  </a:txBody>
                  <a:tcPr marL="47625" marR="47625" marT="0" marB="0" anchor="b">
                    <a:lnL>
                      <a:noFill/>
                    </a:lnL>
                    <a:lnR>
                      <a:noFill/>
                    </a:lnR>
                    <a:lnT>
                      <a:noFill/>
                    </a:lnT>
                    <a:lnB>
                      <a:noFill/>
                    </a:lnB>
                  </a:tcPr>
                </a:tc>
                <a:extLst>
                  <a:ext uri="{0D108BD9-81ED-4DB2-BD59-A6C34878D82A}">
                    <a16:rowId xmlns:a16="http://schemas.microsoft.com/office/drawing/2014/main" val="1578953869"/>
                  </a:ext>
                </a:extLst>
              </a:tr>
            </a:tbl>
          </a:graphicData>
        </a:graphic>
      </p:graphicFrame>
      <p:cxnSp>
        <p:nvCxnSpPr>
          <p:cNvPr id="9" name="Straight Connector 8">
            <a:extLst>
              <a:ext uri="{FF2B5EF4-FFF2-40B4-BE49-F238E27FC236}">
                <a16:creationId xmlns:a16="http://schemas.microsoft.com/office/drawing/2014/main" id="{BBAEC822-0BC2-86BD-5A3F-0BAAA3E3AB84}"/>
              </a:ext>
            </a:extLst>
          </p:cNvPr>
          <p:cNvCxnSpPr>
            <a:cxnSpLocks/>
          </p:cNvCxnSpPr>
          <p:nvPr/>
        </p:nvCxnSpPr>
        <p:spPr>
          <a:xfrm>
            <a:off x="1637478" y="6049282"/>
            <a:ext cx="4045527" cy="0"/>
          </a:xfrm>
          <a:prstGeom prst="line">
            <a:avLst/>
          </a:prstGeom>
          <a:ln w="19050">
            <a:solidFill>
              <a:schemeClr val="tx2">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2" name="Oval 11"/>
          <p:cNvSpPr/>
          <p:nvPr/>
        </p:nvSpPr>
        <p:spPr>
          <a:xfrm>
            <a:off x="652098" y="4972464"/>
            <a:ext cx="463628" cy="502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4" name="Oval 13">
            <a:extLst>
              <a:ext uri="{FF2B5EF4-FFF2-40B4-BE49-F238E27FC236}">
                <a16:creationId xmlns:a16="http://schemas.microsoft.com/office/drawing/2014/main" id="{49052FF5-9E49-5D10-BBB2-74D9CAFB728C}"/>
              </a:ext>
            </a:extLst>
          </p:cNvPr>
          <p:cNvSpPr/>
          <p:nvPr/>
        </p:nvSpPr>
        <p:spPr>
          <a:xfrm>
            <a:off x="639444" y="6012420"/>
            <a:ext cx="463628" cy="502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22" name="Right Brace 21">
            <a:extLst>
              <a:ext uri="{FF2B5EF4-FFF2-40B4-BE49-F238E27FC236}">
                <a16:creationId xmlns:a16="http://schemas.microsoft.com/office/drawing/2014/main" id="{9C5E1BB5-3B29-8E18-36D0-2847ABEA0F91}"/>
              </a:ext>
            </a:extLst>
          </p:cNvPr>
          <p:cNvSpPr/>
          <p:nvPr/>
        </p:nvSpPr>
        <p:spPr>
          <a:xfrm>
            <a:off x="5739754" y="1416599"/>
            <a:ext cx="1139349" cy="5216037"/>
          </a:xfrm>
          <a:prstGeom prst="rightBrace">
            <a:avLst>
              <a:gd name="adj1" fmla="val 8333"/>
              <a:gd name="adj2" fmla="val 90073"/>
            </a:avLst>
          </a:prstGeom>
          <a:solidFill>
            <a:schemeClr val="accent4"/>
          </a:solidFill>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TextBox 18">
            <a:extLst>
              <a:ext uri="{FF2B5EF4-FFF2-40B4-BE49-F238E27FC236}">
                <a16:creationId xmlns:a16="http://schemas.microsoft.com/office/drawing/2014/main" id="{D1BD308A-8B9A-BA72-BE81-79E7E5793105}"/>
              </a:ext>
            </a:extLst>
          </p:cNvPr>
          <p:cNvSpPr txBox="1"/>
          <p:nvPr/>
        </p:nvSpPr>
        <p:spPr>
          <a:xfrm>
            <a:off x="6925101" y="5882292"/>
            <a:ext cx="1793858" cy="584775"/>
          </a:xfrm>
          <a:prstGeom prst="rect">
            <a:avLst/>
          </a:prstGeom>
          <a:noFill/>
        </p:spPr>
        <p:txBody>
          <a:bodyPr vert="horz" wrap="square">
            <a:spAutoFit/>
          </a:bodyPr>
          <a:lstStyle/>
          <a:p>
            <a:pPr algn="ctr" fontAlgn="base"/>
            <a:r>
              <a:rPr lang="en-US" sz="1600" i="0" u="none" strike="noStrike" dirty="0">
                <a:solidFill>
                  <a:schemeClr val="bg1"/>
                </a:solidFill>
                <a:effectLst/>
                <a:latin typeface="+mj-lt"/>
              </a:rPr>
              <a:t>Cradle-to-Cradle EPD</a:t>
            </a:r>
            <a:r>
              <a:rPr lang="en-US" sz="1600" b="0" i="0" u="none" strike="noStrike" dirty="0">
                <a:solidFill>
                  <a:schemeClr val="bg1"/>
                </a:solidFill>
                <a:effectLst/>
                <a:latin typeface="+mj-lt"/>
              </a:rPr>
              <a:t> </a:t>
            </a:r>
          </a:p>
        </p:txBody>
      </p:sp>
      <p:sp>
        <p:nvSpPr>
          <p:cNvPr id="28" name="Right Brace 27">
            <a:extLst>
              <a:ext uri="{FF2B5EF4-FFF2-40B4-BE49-F238E27FC236}">
                <a16:creationId xmlns:a16="http://schemas.microsoft.com/office/drawing/2014/main" id="{4B3B29BA-49A4-4A9C-3016-FDD7ED4A1047}"/>
              </a:ext>
            </a:extLst>
          </p:cNvPr>
          <p:cNvSpPr/>
          <p:nvPr/>
        </p:nvSpPr>
        <p:spPr>
          <a:xfrm>
            <a:off x="5725823" y="1333524"/>
            <a:ext cx="1020047" cy="845044"/>
          </a:xfrm>
          <a:prstGeom prst="rightBrace">
            <a:avLst>
              <a:gd name="adj1" fmla="val 17169"/>
              <a:gd name="adj2" fmla="val 59868"/>
            </a:avLst>
          </a:prstGeom>
          <a:solidFill>
            <a:schemeClr val="accent1"/>
          </a:solidFill>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TextBox 25">
            <a:extLst>
              <a:ext uri="{FF2B5EF4-FFF2-40B4-BE49-F238E27FC236}">
                <a16:creationId xmlns:a16="http://schemas.microsoft.com/office/drawing/2014/main" id="{9480D0DF-025C-7A64-9928-2B8CE062E50C}"/>
              </a:ext>
            </a:extLst>
          </p:cNvPr>
          <p:cNvSpPr txBox="1"/>
          <p:nvPr/>
        </p:nvSpPr>
        <p:spPr>
          <a:xfrm>
            <a:off x="1121256" y="6613611"/>
            <a:ext cx="5377579" cy="523220"/>
          </a:xfrm>
          <a:prstGeom prst="rect">
            <a:avLst/>
          </a:prstGeom>
          <a:noFill/>
        </p:spPr>
        <p:txBody>
          <a:bodyPr wrap="square">
            <a:spAutoFit/>
          </a:bodyPr>
          <a:lstStyle/>
          <a:p>
            <a:pPr algn="ctr"/>
            <a:r>
              <a:rPr lang="en-US" sz="1000" kern="1200" dirty="0">
                <a:solidFill>
                  <a:schemeClr val="tx1"/>
                </a:solidFill>
                <a:effectLst/>
                <a:latin typeface="Arial" panose="020B0604020202020204" pitchFamily="34" charset="0"/>
                <a:ea typeface="+mn-ea"/>
                <a:cs typeface="Arial" panose="020B0604020202020204" pitchFamily="34" charset="0"/>
              </a:rPr>
              <a:t>Sources: One Click LCA | Ecochain.com</a:t>
            </a:r>
          </a:p>
          <a:p>
            <a:endParaRPr lang="en-US"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716476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F6B66B2-425A-269E-A5B3-B7520ED161C1}"/>
              </a:ext>
            </a:extLst>
          </p:cNvPr>
          <p:cNvSpPr>
            <a:spLocks noGrp="1"/>
          </p:cNvSpPr>
          <p:nvPr>
            <p:ph type="ctrTitle"/>
          </p:nvPr>
        </p:nvSpPr>
        <p:spPr>
          <a:xfrm>
            <a:off x="685800" y="2438401"/>
            <a:ext cx="7772400" cy="990600"/>
          </a:xfrm>
          <a:solidFill>
            <a:srgbClr val="FFFFFF">
              <a:alpha val="0"/>
            </a:srgbClr>
          </a:solidFill>
        </p:spPr>
        <p:txBody>
          <a:bodyPr/>
          <a:lstStyle/>
          <a:p>
            <a:r>
              <a:rPr lang="en-US" sz="2800" dirty="0">
                <a:highlight>
                  <a:srgbClr val="FFFFFF"/>
                </a:highlight>
              </a:rPr>
              <a:t>Learning Objective 2</a:t>
            </a:r>
            <a:br>
              <a:rPr lang="en-US" sz="2800" dirty="0">
                <a:highlight>
                  <a:srgbClr val="FFFFFF"/>
                </a:highlight>
              </a:rPr>
            </a:br>
            <a:endParaRPr lang="en-US" sz="2800" dirty="0">
              <a:highlight>
                <a:srgbClr val="FFFFFF"/>
              </a:highlight>
            </a:endParaRPr>
          </a:p>
        </p:txBody>
      </p:sp>
      <p:sp>
        <p:nvSpPr>
          <p:cNvPr id="2" name="Subtitle 1">
            <a:extLst>
              <a:ext uri="{FF2B5EF4-FFF2-40B4-BE49-F238E27FC236}">
                <a16:creationId xmlns:a16="http://schemas.microsoft.com/office/drawing/2014/main" id="{2688919C-B7C6-982B-F70C-BE6FF01BCCC8}"/>
              </a:ext>
            </a:extLst>
          </p:cNvPr>
          <p:cNvSpPr>
            <a:spLocks noGrp="1"/>
          </p:cNvSpPr>
          <p:nvPr>
            <p:ph type="subTitle" idx="1"/>
          </p:nvPr>
        </p:nvSpPr>
        <p:spPr/>
        <p:txBody>
          <a:bodyPr/>
          <a:lstStyle/>
          <a:p>
            <a:r>
              <a:rPr lang="en-US" dirty="0"/>
              <a:t>Why and how are EPDs used to measure and track carbon in public projects, green building programs, carbon calculators, and design software? </a:t>
            </a:r>
          </a:p>
          <a:p>
            <a:endParaRPr lang="en-US" dirty="0"/>
          </a:p>
        </p:txBody>
      </p:sp>
      <p:sp>
        <p:nvSpPr>
          <p:cNvPr id="4" name="Date Placeholder 3">
            <a:extLst>
              <a:ext uri="{FF2B5EF4-FFF2-40B4-BE49-F238E27FC236}">
                <a16:creationId xmlns:a16="http://schemas.microsoft.com/office/drawing/2014/main" id="{E0C56CF5-4DC7-869D-DA2D-A32BD08D4DDD}"/>
              </a:ext>
            </a:extLst>
          </p:cNvPr>
          <p:cNvSpPr>
            <a:spLocks noGrp="1"/>
          </p:cNvSpPr>
          <p:nvPr>
            <p:ph type="dt" sz="half" idx="10"/>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FB46F219-C06F-18B1-C428-0B395699F2BD}"/>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12</a:t>
            </a:fld>
            <a:endParaRPr lang="de-DE" dirty="0">
              <a:solidFill>
                <a:srgbClr val="000000"/>
              </a:solidFill>
            </a:endParaRPr>
          </a:p>
        </p:txBody>
      </p:sp>
      <p:pic>
        <p:nvPicPr>
          <p:cNvPr id="7" name="Graphic 6" descr="Architecture with solid fill">
            <a:extLst>
              <a:ext uri="{FF2B5EF4-FFF2-40B4-BE49-F238E27FC236}">
                <a16:creationId xmlns:a16="http://schemas.microsoft.com/office/drawing/2014/main" id="{522C944F-B5CA-79B6-5A7E-4536C5AE7A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00200" y="0"/>
            <a:ext cx="6858000" cy="6858000"/>
          </a:xfrm>
          <a:prstGeom prst="rect">
            <a:avLst/>
          </a:prstGeom>
        </p:spPr>
      </p:pic>
    </p:spTree>
    <p:extLst>
      <p:ext uri="{BB962C8B-B14F-4D97-AF65-F5344CB8AC3E}">
        <p14:creationId xmlns:p14="http://schemas.microsoft.com/office/powerpoint/2010/main" val="679959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hape 62"/>
          <p:cNvSpPr txBox="1">
            <a:spLocks/>
          </p:cNvSpPr>
          <p:nvPr/>
        </p:nvSpPr>
        <p:spPr>
          <a:xfrm>
            <a:off x="1324262" y="877820"/>
            <a:ext cx="7886700" cy="376121"/>
          </a:xfrm>
          <a:prstGeom prst="rect">
            <a:avLst/>
          </a:prstGeom>
        </p:spPr>
        <p:txBody>
          <a:bodyPr vert="horz" lIns="0" tIns="0" rIns="0" bIns="0" rtlCol="0" anchor="t">
            <a:normAutofit/>
          </a:bodyPr>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defTabSz="685800">
              <a:lnSpc>
                <a:spcPct val="90000"/>
              </a:lnSpc>
              <a:spcBef>
                <a:spcPct val="0"/>
              </a:spcBef>
              <a:spcAft>
                <a:spcPts val="600"/>
              </a:spcAft>
              <a:defRPr sz="1800"/>
            </a:pPr>
            <a:r>
              <a:rPr lang="en-US" sz="2400" kern="1200" dirty="0">
                <a:solidFill>
                  <a:schemeClr val="accent1"/>
                </a:solidFill>
                <a:latin typeface="+mj-lt"/>
                <a:ea typeface="+mj-ea"/>
                <a:cs typeface="+mj-cs"/>
              </a:rPr>
              <a:t>EPDs ARE CRITICAL FOR CARBON REPORTING </a:t>
            </a:r>
          </a:p>
        </p:txBody>
      </p:sp>
      <p:sp>
        <p:nvSpPr>
          <p:cNvPr id="5" name="TextBox 4">
            <a:extLst>
              <a:ext uri="{FF2B5EF4-FFF2-40B4-BE49-F238E27FC236}">
                <a16:creationId xmlns:a16="http://schemas.microsoft.com/office/drawing/2014/main" id="{D1FCC2F8-8260-B243-05F6-1384DDF7D058}"/>
              </a:ext>
            </a:extLst>
          </p:cNvPr>
          <p:cNvSpPr txBox="1"/>
          <p:nvPr/>
        </p:nvSpPr>
        <p:spPr>
          <a:xfrm>
            <a:off x="4513528" y="108202"/>
            <a:ext cx="4455243" cy="213671"/>
          </a:xfrm>
          <a:prstGeom prst="rect">
            <a:avLst/>
          </a:prstGeom>
        </p:spPr>
        <p:txBody>
          <a:bodyPr vert="horz" lIns="0" tIns="0" rIns="0" bIns="0" rtlCol="0">
            <a:normAutofit/>
          </a:bodyPr>
          <a:lstStyle/>
          <a:p>
            <a:pPr algn="r" defTabSz="685800">
              <a:lnSpc>
                <a:spcPct val="95000"/>
              </a:lnSpc>
              <a:spcBef>
                <a:spcPts val="1350"/>
              </a:spcBef>
              <a:buClr>
                <a:schemeClr val="accent1"/>
              </a:buClr>
              <a:buSzPct val="100000"/>
            </a:pPr>
            <a:endParaRPr lang="en-US" sz="750" b="0" i="0" kern="1200" baseline="0" dirty="0">
              <a:solidFill>
                <a:srgbClr val="DE791C"/>
              </a:solidFill>
              <a:latin typeface="Arial" panose="020B0604020202020204" pitchFamily="34" charset="0"/>
              <a:ea typeface="+mn-ea"/>
              <a:cs typeface="+mn-cs"/>
            </a:endParaRPr>
          </a:p>
        </p:txBody>
      </p:sp>
      <p:sp>
        <p:nvSpPr>
          <p:cNvPr id="83" name="Shape 83" hidden="1"/>
          <p:cNvSpPr>
            <a:spLocks noGrp="1"/>
          </p:cNvSpPr>
          <p:nvPr>
            <p:ph type="sldNum" sz="quarter" idx="4294967295"/>
          </p:nvPr>
        </p:nvSpPr>
        <p:spPr>
          <a:xfrm>
            <a:off x="7086600" y="6324600"/>
            <a:ext cx="2057400" cy="127000"/>
          </a:xfrm>
          <a:prstGeom prst="rect">
            <a:avLst/>
          </a:prstGeom>
          <a:extLst>
            <a:ext uri="{C572A759-6A51-4108-AA02-DFA0A04FC94B}">
              <ma14:wrappingTextBoxFlag xmlns="" xmlns:ma14="http://schemas.microsoft.com/office/mac/drawingml/2011/main" xmlns:mv="urn:schemas-microsoft-com:mac:vml" xmlns:mc="http://schemas.openxmlformats.org/markup-compatibility/2006" val="1"/>
            </a:ext>
          </a:extLst>
        </p:spPr>
        <p:txBody>
          <a:bodyPr>
            <a:normAutofit fontScale="62500" lnSpcReduction="20000"/>
          </a:bodyPr>
          <a:lstStyle>
            <a:lvl1pPr>
              <a:lnSpc>
                <a:spcPct val="90000"/>
              </a:lnSpc>
              <a:defRPr sz="900"/>
            </a:lvl1pPr>
          </a:lstStyle>
          <a:p>
            <a:pPr lvl="0">
              <a:spcAft>
                <a:spcPts val="600"/>
              </a:spcAft>
              <a:defRPr sz="1800">
                <a:solidFill>
                  <a:srgbClr val="000000"/>
                </a:solidFill>
              </a:defRPr>
            </a:pPr>
            <a:fld id="{86CB4B4D-7CA3-9044-876B-883B54F8677D}" type="slidenum">
              <a:rPr>
                <a:solidFill>
                  <a:srgbClr val="888888"/>
                </a:solidFill>
              </a:rPr>
              <a:pPr lvl="0">
                <a:spcAft>
                  <a:spcPts val="600"/>
                </a:spcAft>
                <a:defRPr sz="1800">
                  <a:solidFill>
                    <a:srgbClr val="000000"/>
                  </a:solidFill>
                </a:defRPr>
              </a:pPr>
              <a:t>13</a:t>
            </a:fld>
            <a:endParaRPr dirty="0">
              <a:solidFill>
                <a:srgbClr val="888888"/>
              </a:solidFill>
            </a:endParaRPr>
          </a:p>
        </p:txBody>
      </p:sp>
      <p:graphicFrame>
        <p:nvGraphicFramePr>
          <p:cNvPr id="85" name="TextBox 2">
            <a:extLst>
              <a:ext uri="{FF2B5EF4-FFF2-40B4-BE49-F238E27FC236}">
                <a16:creationId xmlns:a16="http://schemas.microsoft.com/office/drawing/2014/main" id="{5D4DAB4F-6511-0C33-DA3E-11C092271D9C}"/>
              </a:ext>
            </a:extLst>
          </p:cNvPr>
          <p:cNvGraphicFramePr/>
          <p:nvPr>
            <p:extLst>
              <p:ext uri="{D42A27DB-BD31-4B8C-83A1-F6EECF244321}">
                <p14:modId xmlns:p14="http://schemas.microsoft.com/office/powerpoint/2010/main" val="347324081"/>
              </p:ext>
            </p:extLst>
          </p:nvPr>
        </p:nvGraphicFramePr>
        <p:xfrm>
          <a:off x="1324262" y="1916723"/>
          <a:ext cx="6950033" cy="4448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Smoke from factory">
            <a:extLst>
              <a:ext uri="{FF2B5EF4-FFF2-40B4-BE49-F238E27FC236}">
                <a16:creationId xmlns:a16="http://schemas.microsoft.com/office/drawing/2014/main" id="{8AA91597-45A1-6561-198C-4F456D0FDD5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1412584" y="3242286"/>
            <a:ext cx="826076" cy="579759"/>
          </a:xfrm>
          <a:prstGeom prst="rect">
            <a:avLst/>
          </a:prstGeom>
        </p:spPr>
      </p:pic>
      <p:pic>
        <p:nvPicPr>
          <p:cNvPr id="3" name="Graphic 2" descr="City with solid fill">
            <a:extLst>
              <a:ext uri="{FF2B5EF4-FFF2-40B4-BE49-F238E27FC236}">
                <a16:creationId xmlns:a16="http://schemas.microsoft.com/office/drawing/2014/main" id="{1B334CF2-2198-847A-42AB-48BD085DA3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12585" y="5451231"/>
            <a:ext cx="914400" cy="914400"/>
          </a:xfrm>
          <a:prstGeom prst="rect">
            <a:avLst/>
          </a:prstGeom>
        </p:spPr>
      </p:pic>
    </p:spTree>
    <p:extLst>
      <p:ext uri="{BB962C8B-B14F-4D97-AF65-F5344CB8AC3E}">
        <p14:creationId xmlns:p14="http://schemas.microsoft.com/office/powerpoint/2010/main" val="30495991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ext Placeholder 1">
            <a:extLst>
              <a:ext uri="{FF2B5EF4-FFF2-40B4-BE49-F238E27FC236}">
                <a16:creationId xmlns:a16="http://schemas.microsoft.com/office/drawing/2014/main" id="{F8E6E00F-A8A8-EE2C-8BA2-B1CCD67E54B5}"/>
              </a:ext>
            </a:extLst>
          </p:cNvPr>
          <p:cNvGraphicFramePr/>
          <p:nvPr>
            <p:extLst>
              <p:ext uri="{D42A27DB-BD31-4B8C-83A1-F6EECF244321}">
                <p14:modId xmlns:p14="http://schemas.microsoft.com/office/powerpoint/2010/main" val="1696832992"/>
              </p:ext>
            </p:extLst>
          </p:nvPr>
        </p:nvGraphicFramePr>
        <p:xfrm>
          <a:off x="866275" y="1046092"/>
          <a:ext cx="7504002" cy="5811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hape 62">
            <a:extLst>
              <a:ext uri="{FF2B5EF4-FFF2-40B4-BE49-F238E27FC236}">
                <a16:creationId xmlns:a16="http://schemas.microsoft.com/office/drawing/2014/main" id="{DD7C2B4B-A5C2-31E2-AC5F-7F1F478903C9}"/>
              </a:ext>
            </a:extLst>
          </p:cNvPr>
          <p:cNvSpPr txBox="1">
            <a:spLocks/>
          </p:cNvSpPr>
          <p:nvPr/>
        </p:nvSpPr>
        <p:spPr>
          <a:xfrm>
            <a:off x="657728" y="1046092"/>
            <a:ext cx="5534525" cy="622286"/>
          </a:xfrm>
          <a:prstGeom prst="rect">
            <a:avLst/>
          </a:prstGeom>
          <a:solidFill>
            <a:schemeClr val="accent1"/>
          </a:solidFill>
          <a:ln>
            <a:noFill/>
          </a:ln>
          <a:effectLst>
            <a:glow rad="198488">
              <a:schemeClr val="accent1">
                <a:alpha val="19000"/>
              </a:schemeClr>
            </a:glow>
            <a:outerShdw blurRad="50800" dist="50800" dir="5400000" algn="ctr" rotWithShape="0">
              <a:srgbClr val="000000">
                <a:alpha val="86000"/>
              </a:srgbClr>
            </a:outerShdw>
            <a:softEdge rad="44445"/>
          </a:effectLst>
          <a:scene3d>
            <a:camera prst="orthographicFront"/>
            <a:lightRig rig="twoPt" dir="t">
              <a:rot lat="0" lon="0" rev="2400000"/>
            </a:lightRig>
          </a:scene3d>
          <a:sp3d extrusionH="25400" contourW="31750" prstMaterial="dkEdge">
            <a:bevelT w="31750" h="88900" prst="angle"/>
            <a:bevelB w="31750" prst="riblet"/>
            <a:extrusionClr>
              <a:srgbClr val="E6E6E6"/>
            </a:extrusionClr>
            <a:contourClr>
              <a:srgbClr val="E6E6E6"/>
            </a:contourClr>
          </a:sp3d>
        </p:spPr>
        <p:txBody>
          <a:bodyPr vert="horz" lIns="182880" tIns="182880" rIns="182880" bIns="182880" rtlCol="0" anchor="t">
            <a:normAutofit fontScale="85000" lnSpcReduction="10000"/>
          </a:bodyPr>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defTabSz="685800">
              <a:lnSpc>
                <a:spcPct val="90000"/>
              </a:lnSpc>
              <a:spcBef>
                <a:spcPct val="0"/>
              </a:spcBef>
              <a:spcAft>
                <a:spcPts val="600"/>
              </a:spcAft>
              <a:defRPr sz="1800"/>
            </a:pPr>
            <a:r>
              <a:rPr lang="en-US" sz="2400" b="1" kern="1200" dirty="0">
                <a:solidFill>
                  <a:schemeClr val="bg1"/>
                </a:solidFill>
                <a:latin typeface="+mj-lt"/>
                <a:ea typeface="+mj-ea"/>
                <a:cs typeface="+mj-cs"/>
              </a:rPr>
              <a:t>EPDS </a:t>
            </a:r>
            <a:r>
              <a:rPr lang="en-US" sz="2400" b="1" dirty="0">
                <a:solidFill>
                  <a:schemeClr val="bg1"/>
                </a:solidFill>
                <a:latin typeface="+mj-lt"/>
                <a:ea typeface="+mj-ea"/>
                <a:cs typeface="+mj-cs"/>
              </a:rPr>
              <a:t>ARE</a:t>
            </a:r>
            <a:r>
              <a:rPr lang="en-US" sz="2400" b="1" kern="1200" dirty="0">
                <a:solidFill>
                  <a:schemeClr val="bg1"/>
                </a:solidFill>
                <a:latin typeface="+mj-lt"/>
                <a:ea typeface="+mj-ea"/>
                <a:cs typeface="+mj-cs"/>
              </a:rPr>
              <a:t> STANDARDIZED &amp; REQUIRED </a:t>
            </a:r>
          </a:p>
        </p:txBody>
      </p:sp>
    </p:spTree>
    <p:extLst>
      <p:ext uri="{BB962C8B-B14F-4D97-AF65-F5344CB8AC3E}">
        <p14:creationId xmlns:p14="http://schemas.microsoft.com/office/powerpoint/2010/main" val="39700848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D5B556-B62A-517A-E285-DD7B907F74AC}"/>
              </a:ext>
            </a:extLst>
          </p:cNvPr>
          <p:cNvSpPr>
            <a:spLocks noGrp="1"/>
          </p:cNvSpPr>
          <p:nvPr>
            <p:ph type="title"/>
          </p:nvPr>
        </p:nvSpPr>
        <p:spPr>
          <a:xfrm>
            <a:off x="628650" y="654332"/>
            <a:ext cx="7886700" cy="1325563"/>
          </a:xfrm>
        </p:spPr>
        <p:txBody>
          <a:bodyPr anchor="t">
            <a:normAutofit/>
          </a:bodyPr>
          <a:lstStyle/>
          <a:p>
            <a:r>
              <a:rPr lang="en-US" sz="2800" b="1" i="0" u="none" strike="noStrike" dirty="0">
                <a:solidFill>
                  <a:schemeClr val="accent1"/>
                </a:solidFill>
                <a:effectLst/>
              </a:rPr>
              <a:t>HOUSING SUPPLY ACTION PLAN</a:t>
            </a:r>
            <a:endParaRPr lang="en-US" sz="2800" b="1" dirty="0">
              <a:solidFill>
                <a:schemeClr val="accent1"/>
              </a:solidFill>
            </a:endParaRPr>
          </a:p>
        </p:txBody>
      </p:sp>
      <p:sp>
        <p:nvSpPr>
          <p:cNvPr id="8" name="Content Placeholder 7">
            <a:extLst>
              <a:ext uri="{FF2B5EF4-FFF2-40B4-BE49-F238E27FC236}">
                <a16:creationId xmlns:a16="http://schemas.microsoft.com/office/drawing/2014/main" id="{ED41AC2E-37CD-8941-52C4-3989E65AA576}"/>
              </a:ext>
            </a:extLst>
          </p:cNvPr>
          <p:cNvSpPr>
            <a:spLocks noGrp="1"/>
          </p:cNvSpPr>
          <p:nvPr>
            <p:ph sz="half" idx="2"/>
          </p:nvPr>
        </p:nvSpPr>
        <p:spPr>
          <a:xfrm>
            <a:off x="4629150" y="1825625"/>
            <a:ext cx="3886200" cy="4351338"/>
          </a:xfrm>
        </p:spPr>
        <p:txBody>
          <a:bodyPr>
            <a:normAutofit/>
          </a:bodyPr>
          <a:lstStyle/>
          <a:p>
            <a:r>
              <a:rPr lang="en-US" b="1" i="0" u="none" strike="noStrike" dirty="0">
                <a:effectLst/>
              </a:rPr>
              <a:t>The HOME Investment Partnerships Program (HOME) $1.5 billion to 664 participating jurisdictions to produce affordable housing </a:t>
            </a:r>
          </a:p>
          <a:p>
            <a:r>
              <a:rPr lang="en-US" b="1" i="0" u="none" strike="noStrike" dirty="0">
                <a:effectLst/>
              </a:rPr>
              <a:t>Development Block Grants (CDBG) $3.3 billion to 1239 states and localities to build stronger communities — The Community</a:t>
            </a:r>
          </a:p>
          <a:p>
            <a:r>
              <a:rPr lang="en-US" b="1" i="0" u="none" strike="noStrike" dirty="0">
                <a:effectLst/>
              </a:rPr>
              <a:t>The Green and Resilient Retrofit Program (GRRP) of eligible HUD-assisted multifamily properties.  up to $4 billion in loan authority </a:t>
            </a:r>
          </a:p>
          <a:p>
            <a:endParaRPr lang="en-US" dirty="0"/>
          </a:p>
        </p:txBody>
      </p:sp>
      <p:graphicFrame>
        <p:nvGraphicFramePr>
          <p:cNvPr id="10" name="Content Placeholder 3">
            <a:extLst>
              <a:ext uri="{FF2B5EF4-FFF2-40B4-BE49-F238E27FC236}">
                <a16:creationId xmlns:a16="http://schemas.microsoft.com/office/drawing/2014/main" id="{2C76FC55-16BE-2DBF-B197-BAF187323549}"/>
              </a:ext>
            </a:extLst>
          </p:cNvPr>
          <p:cNvGraphicFramePr>
            <a:graphicFrameLocks noGrp="1"/>
          </p:cNvGraphicFramePr>
          <p:nvPr>
            <p:ph sz="half" idx="1"/>
            <p:extLst>
              <p:ext uri="{D42A27DB-BD31-4B8C-83A1-F6EECF244321}">
                <p14:modId xmlns:p14="http://schemas.microsoft.com/office/powerpoint/2010/main" val="2017768041"/>
              </p:ext>
            </p:extLst>
          </p:nvPr>
        </p:nvGraphicFramePr>
        <p:xfrm>
          <a:off x="628650" y="1825625"/>
          <a:ext cx="38862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620084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43A6F4E0-30FD-D213-6406-D654A7E6874A}"/>
              </a:ext>
            </a:extLst>
          </p:cNvPr>
          <p:cNvGrpSpPr/>
          <p:nvPr/>
        </p:nvGrpSpPr>
        <p:grpSpPr>
          <a:xfrm>
            <a:off x="912225" y="1634841"/>
            <a:ext cx="7065868" cy="4624726"/>
            <a:chOff x="562755" y="2296073"/>
            <a:chExt cx="7065868" cy="4624726"/>
          </a:xfrm>
        </p:grpSpPr>
        <p:sp>
          <p:nvSpPr>
            <p:cNvPr id="20" name="Oval 19">
              <a:extLst>
                <a:ext uri="{FF2B5EF4-FFF2-40B4-BE49-F238E27FC236}">
                  <a16:creationId xmlns:a16="http://schemas.microsoft.com/office/drawing/2014/main" id="{6A8D0528-2B09-8B4F-A9B4-72CFD0F6591D}"/>
                </a:ext>
              </a:extLst>
            </p:cNvPr>
            <p:cNvSpPr/>
            <p:nvPr/>
          </p:nvSpPr>
          <p:spPr>
            <a:xfrm>
              <a:off x="3755418" y="4718311"/>
              <a:ext cx="2039454" cy="1958690"/>
            </a:xfrm>
            <a:prstGeom prst="ellipse">
              <a:avLst/>
            </a:prstGeom>
            <a:gradFill rotWithShape="0">
              <a:gsLst>
                <a:gs pos="93000">
                  <a:srgbClr val="DE5062"/>
                </a:gs>
                <a:gs pos="60000">
                  <a:srgbClr val="FFFFFF"/>
                </a:gs>
                <a:gs pos="69000">
                  <a:srgbClr val="E57584"/>
                </a:gs>
                <a:gs pos="100000">
                  <a:schemeClr val="accent1">
                    <a:hueOff val="0"/>
                    <a:satOff val="0"/>
                    <a:lumOff val="0"/>
                    <a:alphaOff val="0"/>
                    <a:satMod val="110000"/>
                    <a:lumMod val="100000"/>
                    <a:shade val="100000"/>
                  </a:schemeClr>
                </a:gs>
                <a:gs pos="74000">
                  <a:srgbClr val="DF5466"/>
                </a:gs>
                <a:gs pos="100000">
                  <a:schemeClr val="accent1">
                    <a:hueOff val="0"/>
                    <a:satOff val="0"/>
                    <a:lumOff val="0"/>
                    <a:alphaOff val="0"/>
                    <a:lumMod val="99000"/>
                    <a:satMod val="120000"/>
                    <a:shade val="78000"/>
                  </a:schemeClr>
                </a:gs>
              </a:gsLst>
            </a:gradFill>
            <a:ln w="57150">
              <a:solidFill>
                <a:schemeClr val="tx2"/>
              </a:solidFill>
            </a:ln>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23" name="Freeform 22">
              <a:extLst>
                <a:ext uri="{FF2B5EF4-FFF2-40B4-BE49-F238E27FC236}">
                  <a16:creationId xmlns:a16="http://schemas.microsoft.com/office/drawing/2014/main" id="{0E45AE12-4C07-AFED-0802-9B1BF13E4FD1}"/>
                </a:ext>
              </a:extLst>
            </p:cNvPr>
            <p:cNvSpPr/>
            <p:nvPr/>
          </p:nvSpPr>
          <p:spPr>
            <a:xfrm>
              <a:off x="1943641" y="3885114"/>
              <a:ext cx="1611491" cy="1570476"/>
            </a:xfrm>
            <a:custGeom>
              <a:avLst/>
              <a:gdLst>
                <a:gd name="connsiteX0" fmla="*/ 0 w 1611491"/>
                <a:gd name="connsiteY0" fmla="*/ 785238 h 1570476"/>
                <a:gd name="connsiteX1" fmla="*/ 805746 w 1611491"/>
                <a:gd name="connsiteY1" fmla="*/ 0 h 1570476"/>
                <a:gd name="connsiteX2" fmla="*/ 1611492 w 1611491"/>
                <a:gd name="connsiteY2" fmla="*/ 785238 h 1570476"/>
                <a:gd name="connsiteX3" fmla="*/ 805746 w 1611491"/>
                <a:gd name="connsiteY3" fmla="*/ 1570476 h 1570476"/>
                <a:gd name="connsiteX4" fmla="*/ 0 w 1611491"/>
                <a:gd name="connsiteY4" fmla="*/ 785238 h 1570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1491" h="1570476">
                  <a:moveTo>
                    <a:pt x="0" y="785238"/>
                  </a:moveTo>
                  <a:cubicBezTo>
                    <a:pt x="0" y="351563"/>
                    <a:pt x="360745" y="0"/>
                    <a:pt x="805746" y="0"/>
                  </a:cubicBezTo>
                  <a:cubicBezTo>
                    <a:pt x="1250747" y="0"/>
                    <a:pt x="1611492" y="351563"/>
                    <a:pt x="1611492" y="785238"/>
                  </a:cubicBezTo>
                  <a:cubicBezTo>
                    <a:pt x="1611492" y="1218913"/>
                    <a:pt x="1250747" y="1570476"/>
                    <a:pt x="805746" y="1570476"/>
                  </a:cubicBezTo>
                  <a:cubicBezTo>
                    <a:pt x="360745" y="1570476"/>
                    <a:pt x="0" y="1218913"/>
                    <a:pt x="0" y="785238"/>
                  </a:cubicBezTo>
                  <a:close/>
                </a:path>
              </a:pathLst>
            </a:custGeom>
            <a:solidFill>
              <a:srgbClr val="E6E6E6"/>
            </a:solidFill>
            <a:ln w="85725">
              <a:solidFill>
                <a:srgbClr val="6CADCE"/>
              </a:solidFill>
            </a:ln>
            <a:effectLst>
              <a:outerShdw blurRad="50800" dist="50800" dir="5400000" algn="ctr" rotWithShape="0">
                <a:srgbClr val="F2F2F2"/>
              </a:outerShdw>
            </a:effectLst>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74097" tIns="268091" rIns="274097" bIns="268091" numCol="1" spcCol="1270" anchor="ctr" anchorCtr="0">
              <a:noAutofit/>
            </a:bodyPr>
            <a:lstStyle/>
            <a:p>
              <a:pPr marL="0" lvl="0" indent="0" algn="ctr" defTabSz="444500">
                <a:lnSpc>
                  <a:spcPct val="90000"/>
                </a:lnSpc>
                <a:spcBef>
                  <a:spcPct val="0"/>
                </a:spcBef>
                <a:spcAft>
                  <a:spcPct val="35000"/>
                </a:spcAft>
                <a:buNone/>
              </a:pPr>
              <a:r>
                <a:rPr lang="en-US" sz="1000" kern="1200" dirty="0"/>
                <a:t>EC3</a:t>
              </a:r>
            </a:p>
          </p:txBody>
        </p:sp>
        <p:sp>
          <p:nvSpPr>
            <p:cNvPr id="26" name="Freeform 25">
              <a:extLst>
                <a:ext uri="{FF2B5EF4-FFF2-40B4-BE49-F238E27FC236}">
                  <a16:creationId xmlns:a16="http://schemas.microsoft.com/office/drawing/2014/main" id="{4F3F747D-C709-ED0F-BBB0-6DB758779798}"/>
                </a:ext>
              </a:extLst>
            </p:cNvPr>
            <p:cNvSpPr/>
            <p:nvPr/>
          </p:nvSpPr>
          <p:spPr>
            <a:xfrm>
              <a:off x="5396014" y="2296073"/>
              <a:ext cx="2232609" cy="2188229"/>
            </a:xfrm>
            <a:custGeom>
              <a:avLst/>
              <a:gdLst>
                <a:gd name="connsiteX0" fmla="*/ 0 w 1569900"/>
                <a:gd name="connsiteY0" fmla="*/ 719003 h 1438005"/>
                <a:gd name="connsiteX1" fmla="*/ 784950 w 1569900"/>
                <a:gd name="connsiteY1" fmla="*/ 0 h 1438005"/>
                <a:gd name="connsiteX2" fmla="*/ 1569900 w 1569900"/>
                <a:gd name="connsiteY2" fmla="*/ 719003 h 1438005"/>
                <a:gd name="connsiteX3" fmla="*/ 784950 w 1569900"/>
                <a:gd name="connsiteY3" fmla="*/ 1438006 h 1438005"/>
                <a:gd name="connsiteX4" fmla="*/ 0 w 1569900"/>
                <a:gd name="connsiteY4" fmla="*/ 719003 h 1438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9900" h="1438005">
                  <a:moveTo>
                    <a:pt x="0" y="719003"/>
                  </a:moveTo>
                  <a:cubicBezTo>
                    <a:pt x="0" y="321909"/>
                    <a:pt x="351434" y="0"/>
                    <a:pt x="784950" y="0"/>
                  </a:cubicBezTo>
                  <a:cubicBezTo>
                    <a:pt x="1218466" y="0"/>
                    <a:pt x="1569900" y="321909"/>
                    <a:pt x="1569900" y="719003"/>
                  </a:cubicBezTo>
                  <a:cubicBezTo>
                    <a:pt x="1569900" y="1116097"/>
                    <a:pt x="1218466" y="1438006"/>
                    <a:pt x="784950" y="1438006"/>
                  </a:cubicBezTo>
                  <a:cubicBezTo>
                    <a:pt x="351434" y="1438006"/>
                    <a:pt x="0" y="1116097"/>
                    <a:pt x="0" y="719003"/>
                  </a:cubicBezTo>
                  <a:close/>
                </a:path>
              </a:pathLst>
            </a:custGeom>
            <a:solidFill>
              <a:schemeClr val="tx1"/>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268007" tIns="248691" rIns="268007" bIns="248691" numCol="1" spcCol="1270" anchor="ctr" anchorCtr="0">
              <a:noAutofit/>
            </a:bodyPr>
            <a:lstStyle/>
            <a:p>
              <a:pPr marL="0" lvl="0" indent="0" algn="ctr" defTabSz="444500">
                <a:lnSpc>
                  <a:spcPct val="90000"/>
                </a:lnSpc>
                <a:spcBef>
                  <a:spcPct val="0"/>
                </a:spcBef>
                <a:spcAft>
                  <a:spcPct val="35000"/>
                </a:spcAft>
                <a:buNone/>
              </a:pPr>
              <a:r>
                <a:rPr lang="en-US" sz="1000" kern="1200" dirty="0"/>
                <a:t>BIMSMITH</a:t>
              </a:r>
            </a:p>
          </p:txBody>
        </p:sp>
        <p:sp>
          <p:nvSpPr>
            <p:cNvPr id="30" name="Freeform 29">
              <a:extLst>
                <a:ext uri="{FF2B5EF4-FFF2-40B4-BE49-F238E27FC236}">
                  <a16:creationId xmlns:a16="http://schemas.microsoft.com/office/drawing/2014/main" id="{88CA4DAA-FFEE-7DDD-E24E-F85D95A0092C}"/>
                </a:ext>
              </a:extLst>
            </p:cNvPr>
            <p:cNvSpPr/>
            <p:nvPr/>
          </p:nvSpPr>
          <p:spPr>
            <a:xfrm>
              <a:off x="1250457" y="2871259"/>
              <a:ext cx="952145" cy="814235"/>
            </a:xfrm>
            <a:custGeom>
              <a:avLst/>
              <a:gdLst>
                <a:gd name="connsiteX0" fmla="*/ 0 w 717016"/>
                <a:gd name="connsiteY0" fmla="*/ 361092 h 722183"/>
                <a:gd name="connsiteX1" fmla="*/ 358508 w 717016"/>
                <a:gd name="connsiteY1" fmla="*/ 0 h 722183"/>
                <a:gd name="connsiteX2" fmla="*/ 717016 w 717016"/>
                <a:gd name="connsiteY2" fmla="*/ 361092 h 722183"/>
                <a:gd name="connsiteX3" fmla="*/ 358508 w 717016"/>
                <a:gd name="connsiteY3" fmla="*/ 722184 h 722183"/>
                <a:gd name="connsiteX4" fmla="*/ 0 w 717016"/>
                <a:gd name="connsiteY4" fmla="*/ 361092 h 722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16" h="722183">
                  <a:moveTo>
                    <a:pt x="0" y="361092"/>
                  </a:moveTo>
                  <a:cubicBezTo>
                    <a:pt x="0" y="161666"/>
                    <a:pt x="160509" y="0"/>
                    <a:pt x="358508" y="0"/>
                  </a:cubicBezTo>
                  <a:cubicBezTo>
                    <a:pt x="556507" y="0"/>
                    <a:pt x="717016" y="161666"/>
                    <a:pt x="717016" y="361092"/>
                  </a:cubicBezTo>
                  <a:cubicBezTo>
                    <a:pt x="717016" y="560518"/>
                    <a:pt x="556507" y="722184"/>
                    <a:pt x="358508" y="722184"/>
                  </a:cubicBezTo>
                  <a:cubicBezTo>
                    <a:pt x="160509" y="722184"/>
                    <a:pt x="0" y="560518"/>
                    <a:pt x="0" y="361092"/>
                  </a:cubicBezTo>
                  <a:close/>
                </a:path>
              </a:pathLst>
            </a:custGeom>
            <a:solidFill>
              <a:schemeClr val="bg2">
                <a:lumMod val="85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3105" tIns="143861" rIns="143105" bIns="143861" numCol="1" spcCol="1270" anchor="ctr" anchorCtr="0">
              <a:noAutofit/>
            </a:bodyPr>
            <a:lstStyle/>
            <a:p>
              <a:pPr marL="0" lvl="0" indent="0" algn="ctr" defTabSz="444500">
                <a:lnSpc>
                  <a:spcPct val="90000"/>
                </a:lnSpc>
                <a:spcBef>
                  <a:spcPct val="0"/>
                </a:spcBef>
                <a:spcAft>
                  <a:spcPct val="35000"/>
                </a:spcAft>
                <a:buNone/>
              </a:pPr>
              <a:r>
                <a:rPr lang="en-US" sz="1400" kern="1200" dirty="0">
                  <a:solidFill>
                    <a:srgbClr val="4472AA"/>
                  </a:solidFill>
                </a:rPr>
                <a:t>Revit</a:t>
              </a:r>
            </a:p>
          </p:txBody>
        </p:sp>
        <p:sp>
          <p:nvSpPr>
            <p:cNvPr id="32" name="Oval 31">
              <a:extLst>
                <a:ext uri="{FF2B5EF4-FFF2-40B4-BE49-F238E27FC236}">
                  <a16:creationId xmlns:a16="http://schemas.microsoft.com/office/drawing/2014/main" id="{4AD54E3A-E05E-C1BD-69B8-7670DB357507}"/>
                </a:ext>
              </a:extLst>
            </p:cNvPr>
            <p:cNvSpPr/>
            <p:nvPr/>
          </p:nvSpPr>
          <p:spPr>
            <a:xfrm>
              <a:off x="6557525" y="5594279"/>
              <a:ext cx="183305" cy="183286"/>
            </a:xfrm>
            <a:prstGeom prst="ellipse">
              <a:avLst/>
            </a:pr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4" name="Oval 33">
              <a:extLst>
                <a:ext uri="{FF2B5EF4-FFF2-40B4-BE49-F238E27FC236}">
                  <a16:creationId xmlns:a16="http://schemas.microsoft.com/office/drawing/2014/main" id="{95A02104-47CF-113D-B4B9-ADD283C37580}"/>
                </a:ext>
              </a:extLst>
            </p:cNvPr>
            <p:cNvSpPr/>
            <p:nvPr/>
          </p:nvSpPr>
          <p:spPr>
            <a:xfrm>
              <a:off x="4596151" y="5660546"/>
              <a:ext cx="183305" cy="183286"/>
            </a:xfrm>
            <a:prstGeom prst="ellipse">
              <a:avLst/>
            </a:pr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5" name="Freeform 34">
              <a:extLst>
                <a:ext uri="{FF2B5EF4-FFF2-40B4-BE49-F238E27FC236}">
                  <a16:creationId xmlns:a16="http://schemas.microsoft.com/office/drawing/2014/main" id="{69AFB0A0-DEB1-8AFD-EB25-7D43DFB9EE1C}"/>
                </a:ext>
              </a:extLst>
            </p:cNvPr>
            <p:cNvSpPr/>
            <p:nvPr/>
          </p:nvSpPr>
          <p:spPr>
            <a:xfrm>
              <a:off x="1026758" y="5470248"/>
              <a:ext cx="935542" cy="936758"/>
            </a:xfrm>
            <a:custGeom>
              <a:avLst/>
              <a:gdLst>
                <a:gd name="connsiteX0" fmla="*/ 0 w 924454"/>
                <a:gd name="connsiteY0" fmla="*/ 462280 h 924560"/>
                <a:gd name="connsiteX1" fmla="*/ 462227 w 924454"/>
                <a:gd name="connsiteY1" fmla="*/ 0 h 924560"/>
                <a:gd name="connsiteX2" fmla="*/ 924454 w 924454"/>
                <a:gd name="connsiteY2" fmla="*/ 462280 h 924560"/>
                <a:gd name="connsiteX3" fmla="*/ 462227 w 924454"/>
                <a:gd name="connsiteY3" fmla="*/ 924560 h 924560"/>
                <a:gd name="connsiteX4" fmla="*/ 0 w 924454"/>
                <a:gd name="connsiteY4" fmla="*/ 462280 h 92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454" h="924560">
                  <a:moveTo>
                    <a:pt x="0" y="462280"/>
                  </a:moveTo>
                  <a:cubicBezTo>
                    <a:pt x="0" y="206970"/>
                    <a:pt x="206946" y="0"/>
                    <a:pt x="462227" y="0"/>
                  </a:cubicBezTo>
                  <a:cubicBezTo>
                    <a:pt x="717508" y="0"/>
                    <a:pt x="924454" y="206970"/>
                    <a:pt x="924454" y="462280"/>
                  </a:cubicBezTo>
                  <a:cubicBezTo>
                    <a:pt x="924454" y="717590"/>
                    <a:pt x="717508" y="924560"/>
                    <a:pt x="462227" y="924560"/>
                  </a:cubicBezTo>
                  <a:cubicBezTo>
                    <a:pt x="206946" y="924560"/>
                    <a:pt x="0" y="717590"/>
                    <a:pt x="0" y="462280"/>
                  </a:cubicBezTo>
                  <a:close/>
                </a:path>
              </a:pathLst>
            </a:custGeom>
            <a:solidFill>
              <a:schemeClr val="bg2">
                <a:lumMod val="85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73483" tIns="173499" rIns="173483" bIns="173499" numCol="1" spcCol="1270" anchor="ctr" anchorCtr="0">
              <a:noAutofit/>
            </a:bodyPr>
            <a:lstStyle/>
            <a:p>
              <a:pPr marL="0" lvl="0" indent="0" algn="ctr" defTabSz="444500">
                <a:lnSpc>
                  <a:spcPct val="90000"/>
                </a:lnSpc>
                <a:spcBef>
                  <a:spcPct val="0"/>
                </a:spcBef>
                <a:spcAft>
                  <a:spcPct val="35000"/>
                </a:spcAft>
                <a:buNone/>
              </a:pPr>
              <a:r>
                <a:rPr lang="en-US" sz="1200" kern="1200" dirty="0">
                  <a:solidFill>
                    <a:srgbClr val="4472AA"/>
                  </a:solidFill>
                </a:rPr>
                <a:t>Procore</a:t>
              </a:r>
            </a:p>
          </p:txBody>
        </p:sp>
        <p:sp>
          <p:nvSpPr>
            <p:cNvPr id="33" name="Freeform 32">
              <a:extLst>
                <a:ext uri="{FF2B5EF4-FFF2-40B4-BE49-F238E27FC236}">
                  <a16:creationId xmlns:a16="http://schemas.microsoft.com/office/drawing/2014/main" id="{BEEDD1B5-9C25-E14B-7AE3-854FAF22C2B9}"/>
                </a:ext>
              </a:extLst>
            </p:cNvPr>
            <p:cNvSpPr/>
            <p:nvPr/>
          </p:nvSpPr>
          <p:spPr>
            <a:xfrm>
              <a:off x="562755" y="4577802"/>
              <a:ext cx="976871" cy="936759"/>
            </a:xfrm>
            <a:custGeom>
              <a:avLst/>
              <a:gdLst>
                <a:gd name="connsiteX0" fmla="*/ 0 w 869144"/>
                <a:gd name="connsiteY0" fmla="*/ 412682 h 825363"/>
                <a:gd name="connsiteX1" fmla="*/ 434572 w 869144"/>
                <a:gd name="connsiteY1" fmla="*/ 0 h 825363"/>
                <a:gd name="connsiteX2" fmla="*/ 869144 w 869144"/>
                <a:gd name="connsiteY2" fmla="*/ 412682 h 825363"/>
                <a:gd name="connsiteX3" fmla="*/ 434572 w 869144"/>
                <a:gd name="connsiteY3" fmla="*/ 825364 h 825363"/>
                <a:gd name="connsiteX4" fmla="*/ 0 w 869144"/>
                <a:gd name="connsiteY4" fmla="*/ 412682 h 825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144" h="825363">
                  <a:moveTo>
                    <a:pt x="0" y="412682"/>
                  </a:moveTo>
                  <a:cubicBezTo>
                    <a:pt x="0" y="184764"/>
                    <a:pt x="194565" y="0"/>
                    <a:pt x="434572" y="0"/>
                  </a:cubicBezTo>
                  <a:cubicBezTo>
                    <a:pt x="674579" y="0"/>
                    <a:pt x="869144" y="184764"/>
                    <a:pt x="869144" y="412682"/>
                  </a:cubicBezTo>
                  <a:cubicBezTo>
                    <a:pt x="869144" y="640600"/>
                    <a:pt x="674579" y="825364"/>
                    <a:pt x="434572" y="825364"/>
                  </a:cubicBezTo>
                  <a:cubicBezTo>
                    <a:pt x="194565" y="825364"/>
                    <a:pt x="0" y="640600"/>
                    <a:pt x="0" y="412682"/>
                  </a:cubicBezTo>
                  <a:close/>
                </a:path>
              </a:pathLst>
            </a:custGeom>
            <a:solidFill>
              <a:schemeClr val="bg2">
                <a:lumMod val="85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65383" tIns="158972" rIns="165383" bIns="158972" numCol="1" spcCol="1270" anchor="ctr" anchorCtr="0">
              <a:noAutofit/>
            </a:bodyPr>
            <a:lstStyle/>
            <a:p>
              <a:pPr marL="0" lvl="0" indent="0" algn="ctr" defTabSz="444500">
                <a:lnSpc>
                  <a:spcPct val="90000"/>
                </a:lnSpc>
                <a:spcBef>
                  <a:spcPct val="0"/>
                </a:spcBef>
                <a:spcAft>
                  <a:spcPct val="35000"/>
                </a:spcAft>
                <a:buNone/>
              </a:pPr>
              <a:r>
                <a:rPr lang="en-US" sz="1200" kern="1200" dirty="0">
                  <a:solidFill>
                    <a:srgbClr val="4472AA"/>
                  </a:solidFill>
                </a:rPr>
                <a:t>Cove.tool</a:t>
              </a:r>
            </a:p>
          </p:txBody>
        </p:sp>
        <p:sp>
          <p:nvSpPr>
            <p:cNvPr id="17" name="Oval 16">
              <a:extLst>
                <a:ext uri="{FF2B5EF4-FFF2-40B4-BE49-F238E27FC236}">
                  <a16:creationId xmlns:a16="http://schemas.microsoft.com/office/drawing/2014/main" id="{948AD345-DCEF-6B6A-FB11-AAC98CAFDA6D}"/>
                </a:ext>
              </a:extLst>
            </p:cNvPr>
            <p:cNvSpPr/>
            <p:nvPr/>
          </p:nvSpPr>
          <p:spPr>
            <a:xfrm>
              <a:off x="5609287" y="4299349"/>
              <a:ext cx="1575824" cy="1616432"/>
            </a:xfrm>
            <a:prstGeom prst="ellipse">
              <a:avLst/>
            </a:prstGeom>
            <a:solidFill>
              <a:srgbClr val="298C95"/>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a:lstStyle/>
            <a:p>
              <a:endParaRPr lang="en-US" dirty="0"/>
            </a:p>
          </p:txBody>
        </p:sp>
        <p:sp>
          <p:nvSpPr>
            <p:cNvPr id="25" name="Oval 24">
              <a:extLst>
                <a:ext uri="{FF2B5EF4-FFF2-40B4-BE49-F238E27FC236}">
                  <a16:creationId xmlns:a16="http://schemas.microsoft.com/office/drawing/2014/main" id="{0639C52C-4566-A492-296F-173145F4CF0A}"/>
                </a:ext>
              </a:extLst>
            </p:cNvPr>
            <p:cNvSpPr/>
            <p:nvPr/>
          </p:nvSpPr>
          <p:spPr>
            <a:xfrm rot="11396687" flipV="1">
              <a:off x="1923413" y="5993165"/>
              <a:ext cx="976871" cy="927634"/>
            </a:xfrm>
            <a:prstGeom prst="ellipse">
              <a:avLst/>
            </a:prstGeom>
            <a:solidFill>
              <a:schemeClr val="bg2">
                <a:lumMod val="85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a:r>
                <a:rPr lang="en-US" sz="1200" dirty="0">
                  <a:solidFill>
                    <a:srgbClr val="004A96"/>
                  </a:solidFill>
                </a:rPr>
                <a:t>Bentley</a:t>
              </a:r>
            </a:p>
          </p:txBody>
        </p:sp>
        <p:sp>
          <p:nvSpPr>
            <p:cNvPr id="16" name="Freeform 15">
              <a:extLst>
                <a:ext uri="{FF2B5EF4-FFF2-40B4-BE49-F238E27FC236}">
                  <a16:creationId xmlns:a16="http://schemas.microsoft.com/office/drawing/2014/main" id="{C6F53263-AA0B-FF95-5242-DE05556CC349}"/>
                </a:ext>
              </a:extLst>
            </p:cNvPr>
            <p:cNvSpPr/>
            <p:nvPr/>
          </p:nvSpPr>
          <p:spPr>
            <a:xfrm>
              <a:off x="3278112" y="2617316"/>
              <a:ext cx="2273823" cy="2274214"/>
            </a:xfrm>
            <a:custGeom>
              <a:avLst/>
              <a:gdLst>
                <a:gd name="connsiteX0" fmla="*/ 0 w 2273823"/>
                <a:gd name="connsiteY0" fmla="*/ 1137107 h 2274214"/>
                <a:gd name="connsiteX1" fmla="*/ 1136912 w 2273823"/>
                <a:gd name="connsiteY1" fmla="*/ 0 h 2274214"/>
                <a:gd name="connsiteX2" fmla="*/ 2273824 w 2273823"/>
                <a:gd name="connsiteY2" fmla="*/ 1137107 h 2274214"/>
                <a:gd name="connsiteX3" fmla="*/ 1136912 w 2273823"/>
                <a:gd name="connsiteY3" fmla="*/ 2274214 h 2274214"/>
                <a:gd name="connsiteX4" fmla="*/ 0 w 2273823"/>
                <a:gd name="connsiteY4" fmla="*/ 1137107 h 22742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3823" h="2274214">
                  <a:moveTo>
                    <a:pt x="0" y="1137107"/>
                  </a:moveTo>
                  <a:cubicBezTo>
                    <a:pt x="0" y="509100"/>
                    <a:pt x="509013" y="0"/>
                    <a:pt x="1136912" y="0"/>
                  </a:cubicBezTo>
                  <a:cubicBezTo>
                    <a:pt x="1764811" y="0"/>
                    <a:pt x="2273824" y="509100"/>
                    <a:pt x="2273824" y="1137107"/>
                  </a:cubicBezTo>
                  <a:cubicBezTo>
                    <a:pt x="2273824" y="1765114"/>
                    <a:pt x="1764811" y="2274214"/>
                    <a:pt x="1136912" y="2274214"/>
                  </a:cubicBezTo>
                  <a:cubicBezTo>
                    <a:pt x="509013" y="2274214"/>
                    <a:pt x="0" y="1765114"/>
                    <a:pt x="0" y="1137107"/>
                  </a:cubicBezTo>
                  <a:close/>
                </a:path>
              </a:pathLst>
            </a:custGeom>
            <a:gradFill>
              <a:gsLst>
                <a:gs pos="93000">
                  <a:srgbClr val="DE5062"/>
                </a:gs>
                <a:gs pos="60000">
                  <a:srgbClr val="FFFFFF"/>
                </a:gs>
                <a:gs pos="69000">
                  <a:srgbClr val="E57584"/>
                </a:gs>
                <a:gs pos="100000">
                  <a:schemeClr val="accent1">
                    <a:hueOff val="0"/>
                    <a:satOff val="0"/>
                    <a:lumOff val="0"/>
                    <a:alphaOff val="0"/>
                    <a:satMod val="110000"/>
                    <a:lumMod val="100000"/>
                    <a:shade val="100000"/>
                  </a:schemeClr>
                </a:gs>
                <a:gs pos="74000">
                  <a:srgbClr val="DF5466"/>
                </a:gs>
                <a:gs pos="100000">
                  <a:schemeClr val="accent1">
                    <a:hueOff val="0"/>
                    <a:satOff val="0"/>
                    <a:lumOff val="0"/>
                    <a:alphaOff val="0"/>
                    <a:lumMod val="99000"/>
                    <a:satMod val="120000"/>
                    <a:shade val="78000"/>
                  </a:schemeClr>
                </a:gs>
              </a:gsLst>
              <a:lin ang="5400000" scaled="0"/>
            </a:gradFill>
            <a:ln w="31750">
              <a:solidFill>
                <a:schemeClr val="tx1">
                  <a:lumMod val="85000"/>
                  <a:lumOff val="15000"/>
                </a:schemeClr>
              </a:solidFill>
            </a:ln>
            <a:scene3d>
              <a:camera prst="orthographicFront"/>
              <a:lightRig rig="threePt" dir="t">
                <a:rot lat="0" lon="0" rev="7500000"/>
              </a:lightRig>
            </a:scene3d>
            <a:sp3d prstMaterial="plastic">
              <a:bevelT w="127000" h="25400" prst="relaxedInset"/>
            </a:sp3d>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371094" tIns="371151" rIns="371094" bIns="371151" numCol="1" spcCol="1270" anchor="ctr" anchorCtr="0">
              <a:noAutofit/>
            </a:bodyPr>
            <a:lstStyle/>
            <a:p>
              <a:pPr marL="0" lvl="0" indent="0" algn="ctr" defTabSz="444500">
                <a:lnSpc>
                  <a:spcPct val="90000"/>
                </a:lnSpc>
                <a:spcBef>
                  <a:spcPct val="0"/>
                </a:spcBef>
                <a:spcAft>
                  <a:spcPct val="35000"/>
                </a:spcAft>
                <a:buNone/>
              </a:pPr>
              <a:r>
                <a:rPr lang="en-US" sz="1000" kern="1200" dirty="0"/>
                <a:t>Master Spec</a:t>
              </a:r>
            </a:p>
          </p:txBody>
        </p:sp>
      </p:grpSp>
      <p:sp>
        <p:nvSpPr>
          <p:cNvPr id="19" name="Title 1">
            <a:extLst>
              <a:ext uri="{FF2B5EF4-FFF2-40B4-BE49-F238E27FC236}">
                <a16:creationId xmlns:a16="http://schemas.microsoft.com/office/drawing/2014/main" id="{795761AC-5AB7-45B3-88DF-97ADB63B060D}"/>
              </a:ext>
            </a:extLst>
          </p:cNvPr>
          <p:cNvSpPr>
            <a:spLocks noGrp="1"/>
          </p:cNvSpPr>
          <p:nvPr>
            <p:ph type="title"/>
          </p:nvPr>
        </p:nvSpPr>
        <p:spPr>
          <a:xfrm>
            <a:off x="440099" y="481686"/>
            <a:ext cx="8271639" cy="853200"/>
          </a:xfrm>
        </p:spPr>
        <p:txBody>
          <a:bodyPr/>
          <a:lstStyle/>
          <a:p>
            <a:r>
              <a:rPr lang="en-US" sz="2000" dirty="0"/>
              <a:t>EPD PLUGINS IN DESIGN TOOLS &amp; NEW CARBON CALCULATORS</a:t>
            </a:r>
          </a:p>
        </p:txBody>
      </p:sp>
      <p:sp>
        <p:nvSpPr>
          <p:cNvPr id="4" name="Date Placeholder 3">
            <a:extLst>
              <a:ext uri="{FF2B5EF4-FFF2-40B4-BE49-F238E27FC236}">
                <a16:creationId xmlns:a16="http://schemas.microsoft.com/office/drawing/2014/main" id="{24BFC26B-6D99-D978-849A-8BE2EF6B0D0D}"/>
              </a:ext>
            </a:extLst>
          </p:cNvPr>
          <p:cNvSpPr>
            <a:spLocks noGrp="1"/>
          </p:cNvSpPr>
          <p:nvPr>
            <p:ph type="dt" sz="half" idx="11"/>
          </p:nvPr>
        </p:nvSpPr>
        <p:spPr>
          <a:xfrm>
            <a:off x="1258299" y="6021324"/>
            <a:ext cx="351000" cy="151200"/>
          </a:xfrm>
        </p:spPr>
        <p:txBody>
          <a:bodyPr vert="horz" wrap="none" lIns="0" tIns="0" rIns="0" bIns="0" rtlCol="0" anchor="t" anchorCtr="0">
            <a:normAutofit/>
          </a:bodyPr>
          <a:lstStyle/>
          <a:p>
            <a:pPr>
              <a:defRPr/>
            </a:pPr>
            <a:fld id="{EA828A8A-A900-4765-BE54-8F6A7A59D33A}"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82D81E3C-424E-890A-B434-A3B5CD146AFA}"/>
              </a:ext>
            </a:extLst>
          </p:cNvPr>
          <p:cNvSpPr>
            <a:spLocks noGrp="1"/>
          </p:cNvSpPr>
          <p:nvPr>
            <p:ph type="sldNum" sz="quarter" idx="12"/>
          </p:nvPr>
        </p:nvSpPr>
        <p:spPr/>
        <p:txBody>
          <a:bodyPr vert="horz" lIns="0" tIns="0" rIns="0" bIns="0" rtlCol="0" anchor="t">
            <a:normAutofit/>
          </a:bodyPr>
          <a:lstStyle/>
          <a:p>
            <a:pPr>
              <a:defRPr/>
            </a:pPr>
            <a:fld id="{D7C0CCF7-DF53-4ADB-AAD8-9742C01AD446}" type="slidenum">
              <a:rPr lang="de-DE" smtClean="0">
                <a:solidFill>
                  <a:srgbClr val="000000"/>
                </a:solidFill>
              </a:rPr>
              <a:pPr>
                <a:defRPr/>
              </a:pPr>
              <a:t>16</a:t>
            </a:fld>
            <a:endParaRPr lang="de-DE" dirty="0">
              <a:solidFill>
                <a:srgbClr val="000000"/>
              </a:solidFill>
            </a:endParaRPr>
          </a:p>
        </p:txBody>
      </p:sp>
      <p:pic>
        <p:nvPicPr>
          <p:cNvPr id="6" name="Picture 5" descr="A logo of a company&#10;&#10;Description automatically generated">
            <a:extLst>
              <a:ext uri="{FF2B5EF4-FFF2-40B4-BE49-F238E27FC236}">
                <a16:creationId xmlns:a16="http://schemas.microsoft.com/office/drawing/2014/main" id="{FA5F2C3B-DF93-02EE-33D4-701BEC6644A6}"/>
              </a:ext>
            </a:extLst>
          </p:cNvPr>
          <p:cNvPicPr>
            <a:picLocks noChangeAspect="1"/>
          </p:cNvPicPr>
          <p:nvPr/>
        </p:nvPicPr>
        <p:blipFill rotWithShape="1">
          <a:blip r:embed="rId3">
            <a:extLst>
              <a:ext uri="{28A0092B-C50C-407E-A947-70E740481C1C}">
                <a14:useLocalDpi xmlns:a14="http://schemas.microsoft.com/office/drawing/2010/main" val="0"/>
              </a:ext>
            </a:extLst>
          </a:blip>
          <a:srcRect t="26247" b="25631"/>
          <a:stretch/>
        </p:blipFill>
        <p:spPr>
          <a:xfrm>
            <a:off x="4213547" y="4642934"/>
            <a:ext cx="1838901" cy="580225"/>
          </a:xfrm>
          <a:prstGeom prst="rect">
            <a:avLst/>
          </a:prstGeom>
        </p:spPr>
      </p:pic>
      <p:pic>
        <p:nvPicPr>
          <p:cNvPr id="8" name="Picture 7" descr="A black and white logo&#10;&#10;Description automatically generated">
            <a:extLst>
              <a:ext uri="{FF2B5EF4-FFF2-40B4-BE49-F238E27FC236}">
                <a16:creationId xmlns:a16="http://schemas.microsoft.com/office/drawing/2014/main" id="{2F36B80D-AEBE-1973-EBC0-55D1E26C51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1403" y="2455529"/>
            <a:ext cx="1904630" cy="593107"/>
          </a:xfrm>
          <a:prstGeom prst="rect">
            <a:avLst/>
          </a:prstGeom>
        </p:spPr>
      </p:pic>
      <p:pic>
        <p:nvPicPr>
          <p:cNvPr id="12" name="Picture 11" descr="A blue and grey calculator&#10;&#10;Description automatically generated">
            <a:extLst>
              <a:ext uri="{FF2B5EF4-FFF2-40B4-BE49-F238E27FC236}">
                <a16:creationId xmlns:a16="http://schemas.microsoft.com/office/drawing/2014/main" id="{2ED01FA1-DFD4-92F5-4F4B-79430846E8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44987" y="3971972"/>
            <a:ext cx="1049358" cy="893958"/>
          </a:xfrm>
          <a:prstGeom prst="rect">
            <a:avLst/>
          </a:prstGeom>
          <a:effectLst>
            <a:outerShdw blurRad="50800" dist="50800" dir="5400000" algn="ctr" rotWithShape="0">
              <a:srgbClr val="7BAEAF"/>
            </a:outerShdw>
          </a:effectLst>
        </p:spPr>
      </p:pic>
      <p:pic>
        <p:nvPicPr>
          <p:cNvPr id="10" name="Picture 9" descr="A red and black logo&#10;&#10;Description automatically generated">
            <a:extLst>
              <a:ext uri="{FF2B5EF4-FFF2-40B4-BE49-F238E27FC236}">
                <a16:creationId xmlns:a16="http://schemas.microsoft.com/office/drawing/2014/main" id="{72898FE7-A37E-2DF1-5061-5E0817D1EC5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03578" y="2807094"/>
            <a:ext cx="2100094" cy="525571"/>
          </a:xfrm>
          <a:prstGeom prst="rect">
            <a:avLst/>
          </a:prstGeom>
        </p:spPr>
      </p:pic>
      <p:pic>
        <p:nvPicPr>
          <p:cNvPr id="14" name="Picture 13" descr="A logo with buildings and letters&#10;&#10;Description automatically generated">
            <a:extLst>
              <a:ext uri="{FF2B5EF4-FFF2-40B4-BE49-F238E27FC236}">
                <a16:creationId xmlns:a16="http://schemas.microsoft.com/office/drawing/2014/main" id="{288172CF-0A27-C6C7-C9FE-F8D3BDC690A5}"/>
              </a:ext>
            </a:extLst>
          </p:cNvPr>
          <p:cNvPicPr>
            <a:picLocks noChangeAspect="1"/>
          </p:cNvPicPr>
          <p:nvPr/>
        </p:nvPicPr>
        <p:blipFill rotWithShape="1">
          <a:blip r:embed="rId7">
            <a:extLst>
              <a:ext uri="{28A0092B-C50C-407E-A947-70E740481C1C}">
                <a14:useLocalDpi xmlns:a14="http://schemas.microsoft.com/office/drawing/2010/main" val="0"/>
              </a:ext>
            </a:extLst>
          </a:blip>
          <a:srcRect l="24195" r="17048"/>
          <a:stretch/>
        </p:blipFill>
        <p:spPr>
          <a:xfrm>
            <a:off x="2534264" y="3552815"/>
            <a:ext cx="1100148" cy="844820"/>
          </a:xfrm>
          <a:prstGeom prst="rect">
            <a:avLst/>
          </a:prstGeom>
          <a:solidFill>
            <a:srgbClr val="F2F2F2"/>
          </a:solidFill>
        </p:spPr>
      </p:pic>
      <p:sp>
        <p:nvSpPr>
          <p:cNvPr id="47" name="Freeform 46">
            <a:extLst>
              <a:ext uri="{FF2B5EF4-FFF2-40B4-BE49-F238E27FC236}">
                <a16:creationId xmlns:a16="http://schemas.microsoft.com/office/drawing/2014/main" id="{8FF6F10F-74EA-98B5-2F99-9449488EBF23}"/>
              </a:ext>
            </a:extLst>
          </p:cNvPr>
          <p:cNvSpPr/>
          <p:nvPr/>
        </p:nvSpPr>
        <p:spPr>
          <a:xfrm>
            <a:off x="1081740" y="2969662"/>
            <a:ext cx="952146" cy="860543"/>
          </a:xfrm>
          <a:custGeom>
            <a:avLst/>
            <a:gdLst>
              <a:gd name="connsiteX0" fmla="*/ 0 w 717016"/>
              <a:gd name="connsiteY0" fmla="*/ 361092 h 722183"/>
              <a:gd name="connsiteX1" fmla="*/ 358508 w 717016"/>
              <a:gd name="connsiteY1" fmla="*/ 0 h 722183"/>
              <a:gd name="connsiteX2" fmla="*/ 717016 w 717016"/>
              <a:gd name="connsiteY2" fmla="*/ 361092 h 722183"/>
              <a:gd name="connsiteX3" fmla="*/ 358508 w 717016"/>
              <a:gd name="connsiteY3" fmla="*/ 722184 h 722183"/>
              <a:gd name="connsiteX4" fmla="*/ 0 w 717016"/>
              <a:gd name="connsiteY4" fmla="*/ 361092 h 722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016" h="722183">
                <a:moveTo>
                  <a:pt x="0" y="361092"/>
                </a:moveTo>
                <a:cubicBezTo>
                  <a:pt x="0" y="161666"/>
                  <a:pt x="160509" y="0"/>
                  <a:pt x="358508" y="0"/>
                </a:cubicBezTo>
                <a:cubicBezTo>
                  <a:pt x="556507" y="0"/>
                  <a:pt x="717016" y="161666"/>
                  <a:pt x="717016" y="361092"/>
                </a:cubicBezTo>
                <a:cubicBezTo>
                  <a:pt x="717016" y="560518"/>
                  <a:pt x="556507" y="722184"/>
                  <a:pt x="358508" y="722184"/>
                </a:cubicBezTo>
                <a:cubicBezTo>
                  <a:pt x="160509" y="722184"/>
                  <a:pt x="0" y="560518"/>
                  <a:pt x="0" y="361092"/>
                </a:cubicBezTo>
                <a:close/>
              </a:path>
            </a:pathLst>
          </a:custGeom>
          <a:solidFill>
            <a:schemeClr val="bg2">
              <a:lumMod val="85000"/>
            </a:schemeClr>
          </a:solidFill>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43105" tIns="143861" rIns="143105" bIns="143861" numCol="1" spcCol="1270" anchor="ctr" anchorCtr="0">
            <a:noAutofit/>
          </a:bodyPr>
          <a:lstStyle/>
          <a:p>
            <a:pPr lvl="0" algn="ctr" defTabSz="444500">
              <a:lnSpc>
                <a:spcPct val="90000"/>
              </a:lnSpc>
              <a:spcBef>
                <a:spcPct val="0"/>
              </a:spcBef>
              <a:spcAft>
                <a:spcPct val="35000"/>
              </a:spcAft>
            </a:pPr>
            <a:r>
              <a:rPr lang="en-US" sz="1200" kern="1200" dirty="0">
                <a:solidFill>
                  <a:srgbClr val="4472AA"/>
                </a:solidFill>
              </a:rPr>
              <a:t>RIB</a:t>
            </a:r>
          </a:p>
          <a:p>
            <a:pPr lvl="0" algn="ctr" defTabSz="444500">
              <a:lnSpc>
                <a:spcPct val="90000"/>
              </a:lnSpc>
              <a:spcBef>
                <a:spcPct val="0"/>
              </a:spcBef>
              <a:spcAft>
                <a:spcPct val="35000"/>
              </a:spcAft>
            </a:pPr>
            <a:r>
              <a:rPr lang="en-US" sz="1200" dirty="0">
                <a:solidFill>
                  <a:srgbClr val="4472AA"/>
                </a:solidFill>
              </a:rPr>
              <a:t>‘CostX</a:t>
            </a:r>
            <a:endParaRPr lang="en-US" sz="1200" kern="1200" dirty="0">
              <a:solidFill>
                <a:srgbClr val="4472AA"/>
              </a:solidFill>
            </a:endParaRPr>
          </a:p>
        </p:txBody>
      </p:sp>
      <p:sp>
        <p:nvSpPr>
          <p:cNvPr id="52" name="Up Arrow 51">
            <a:extLst>
              <a:ext uri="{FF2B5EF4-FFF2-40B4-BE49-F238E27FC236}">
                <a16:creationId xmlns:a16="http://schemas.microsoft.com/office/drawing/2014/main" id="{2634ABD9-6323-F73F-13F7-DC996AC6B9F6}"/>
              </a:ext>
            </a:extLst>
          </p:cNvPr>
          <p:cNvSpPr/>
          <p:nvPr/>
        </p:nvSpPr>
        <p:spPr>
          <a:xfrm rot="19024778">
            <a:off x="2274899" y="2906728"/>
            <a:ext cx="420567" cy="532619"/>
          </a:xfrm>
          <a:prstGeom prst="upArrow">
            <a:avLst/>
          </a:prstGeom>
          <a:solidFill>
            <a:srgbClr val="447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Up Arrow 52">
            <a:extLst>
              <a:ext uri="{FF2B5EF4-FFF2-40B4-BE49-F238E27FC236}">
                <a16:creationId xmlns:a16="http://schemas.microsoft.com/office/drawing/2014/main" id="{597C7A16-A7B9-5D52-566E-A67D369606E4}"/>
              </a:ext>
            </a:extLst>
          </p:cNvPr>
          <p:cNvSpPr/>
          <p:nvPr/>
        </p:nvSpPr>
        <p:spPr>
          <a:xfrm rot="17408545">
            <a:off x="1895097" y="3442338"/>
            <a:ext cx="484632" cy="488942"/>
          </a:xfrm>
          <a:prstGeom prst="upArrow">
            <a:avLst>
              <a:gd name="adj1" fmla="val 48525"/>
              <a:gd name="adj2" fmla="val 50000"/>
            </a:avLst>
          </a:prstGeom>
          <a:solidFill>
            <a:srgbClr val="447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Up Arrow 53">
            <a:extLst>
              <a:ext uri="{FF2B5EF4-FFF2-40B4-BE49-F238E27FC236}">
                <a16:creationId xmlns:a16="http://schemas.microsoft.com/office/drawing/2014/main" id="{E451155C-CCD2-2401-528F-E23E57BF158F}"/>
              </a:ext>
            </a:extLst>
          </p:cNvPr>
          <p:cNvSpPr/>
          <p:nvPr/>
        </p:nvSpPr>
        <p:spPr>
          <a:xfrm rot="15394881">
            <a:off x="1833257" y="4094103"/>
            <a:ext cx="484632" cy="446097"/>
          </a:xfrm>
          <a:prstGeom prst="upArrow">
            <a:avLst/>
          </a:prstGeom>
          <a:solidFill>
            <a:srgbClr val="447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Up Arrow 54">
            <a:extLst>
              <a:ext uri="{FF2B5EF4-FFF2-40B4-BE49-F238E27FC236}">
                <a16:creationId xmlns:a16="http://schemas.microsoft.com/office/drawing/2014/main" id="{2CCB9DB3-138F-F0F3-B819-516B7CE4051A}"/>
              </a:ext>
            </a:extLst>
          </p:cNvPr>
          <p:cNvSpPr/>
          <p:nvPr/>
        </p:nvSpPr>
        <p:spPr>
          <a:xfrm rot="13295724">
            <a:off x="2138082" y="4557588"/>
            <a:ext cx="497085" cy="507284"/>
          </a:xfrm>
          <a:prstGeom prst="upArrow">
            <a:avLst/>
          </a:prstGeom>
          <a:solidFill>
            <a:srgbClr val="447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Up Arrow 55">
            <a:extLst>
              <a:ext uri="{FF2B5EF4-FFF2-40B4-BE49-F238E27FC236}">
                <a16:creationId xmlns:a16="http://schemas.microsoft.com/office/drawing/2014/main" id="{BE62BF9E-B8C0-18DC-E2DF-202FF862A347}"/>
              </a:ext>
            </a:extLst>
          </p:cNvPr>
          <p:cNvSpPr/>
          <p:nvPr/>
        </p:nvSpPr>
        <p:spPr>
          <a:xfrm rot="11325684">
            <a:off x="2686574" y="4820705"/>
            <a:ext cx="484632" cy="520558"/>
          </a:xfrm>
          <a:prstGeom prst="upArrow">
            <a:avLst/>
          </a:prstGeom>
          <a:solidFill>
            <a:srgbClr val="447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69950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10;&#10;Description automatically generated">
            <a:extLst>
              <a:ext uri="{FF2B5EF4-FFF2-40B4-BE49-F238E27FC236}">
                <a16:creationId xmlns:a16="http://schemas.microsoft.com/office/drawing/2014/main" id="{DB0D622B-0442-8A55-C044-36F6C6ECA203}"/>
              </a:ext>
            </a:extLst>
          </p:cNvPr>
          <p:cNvPicPr>
            <a:picLocks noChangeAspect="1"/>
          </p:cNvPicPr>
          <p:nvPr/>
        </p:nvPicPr>
        <p:blipFill rotWithShape="1">
          <a:blip r:embed="rId3">
            <a:extLst>
              <a:ext uri="{28A0092B-C50C-407E-A947-70E740481C1C}">
                <a14:useLocalDpi xmlns:a14="http://schemas.microsoft.com/office/drawing/2010/main"/>
              </a:ext>
            </a:extLst>
          </a:blip>
          <a:srcRect r="-1" b="-1"/>
          <a:stretch/>
        </p:blipFill>
        <p:spPr>
          <a:xfrm>
            <a:off x="90487" y="105134"/>
            <a:ext cx="8963025" cy="6472237"/>
          </a:xfrm>
          <a:prstGeom prst="rect">
            <a:avLst/>
          </a:prstGeom>
          <a:noFill/>
        </p:spPr>
      </p:pic>
      <p:sp>
        <p:nvSpPr>
          <p:cNvPr id="4" name="Date Placeholder 3" hidden="1">
            <a:extLst>
              <a:ext uri="{FF2B5EF4-FFF2-40B4-BE49-F238E27FC236}">
                <a16:creationId xmlns:a16="http://schemas.microsoft.com/office/drawing/2014/main" id="{FAE50D75-21A4-2560-AD18-BA074E4C9E80}"/>
              </a:ext>
            </a:extLst>
          </p:cNvPr>
          <p:cNvSpPr>
            <a:spLocks noGrp="1"/>
          </p:cNvSpPr>
          <p:nvPr>
            <p:ph type="dt" sz="half" idx="4294967295"/>
          </p:nvPr>
        </p:nvSpPr>
        <p:spPr>
          <a:xfrm>
            <a:off x="514320" y="6516409"/>
            <a:ext cx="351095" cy="175322"/>
          </a:xfrm>
        </p:spPr>
        <p:txBody>
          <a:bodyPr/>
          <a:lstStyle/>
          <a:p>
            <a:pPr>
              <a:spcAft>
                <a:spcPts val="600"/>
              </a:spcAft>
              <a:defRPr/>
            </a:pPr>
            <a:fld id="{368FC967-E25B-4DC7-87C0-1C454DF70C3D}" type="datetime1">
              <a:rPr lang="de-DE" smtClean="0">
                <a:solidFill>
                  <a:srgbClr val="000000"/>
                </a:solidFill>
              </a:rPr>
              <a:pPr>
                <a:spcAft>
                  <a:spcPts val="600"/>
                </a:spcAft>
                <a:defRPr/>
              </a:pPr>
              <a:t>19.12.23</a:t>
            </a:fld>
            <a:endParaRPr lang="de-DE" dirty="0">
              <a:solidFill>
                <a:srgbClr val="000000"/>
              </a:solidFill>
            </a:endParaRPr>
          </a:p>
        </p:txBody>
      </p:sp>
      <p:sp>
        <p:nvSpPr>
          <p:cNvPr id="5" name="Slide Number Placeholder 4" hidden="1">
            <a:extLst>
              <a:ext uri="{FF2B5EF4-FFF2-40B4-BE49-F238E27FC236}">
                <a16:creationId xmlns:a16="http://schemas.microsoft.com/office/drawing/2014/main" id="{5B3B274A-EF42-D1D5-C655-DFD900C7806F}"/>
              </a:ext>
            </a:extLst>
          </p:cNvPr>
          <p:cNvSpPr>
            <a:spLocks noGrp="1"/>
          </p:cNvSpPr>
          <p:nvPr>
            <p:ph type="sldNum" sz="quarter" idx="12"/>
          </p:nvPr>
        </p:nvSpPr>
        <p:spPr/>
        <p:txBody>
          <a:bodyPr/>
          <a:lstStyle/>
          <a:p>
            <a:pPr>
              <a:spcAft>
                <a:spcPts val="600"/>
              </a:spcAft>
              <a:defRPr/>
            </a:pPr>
            <a:fld id="{D7C0CCF7-DF53-4ADB-AAD8-9742C01AD446}" type="slidenum">
              <a:rPr lang="de-DE" smtClean="0">
                <a:solidFill>
                  <a:srgbClr val="000000"/>
                </a:solidFill>
              </a:rPr>
              <a:pPr>
                <a:spcAft>
                  <a:spcPts val="600"/>
                </a:spcAft>
                <a:defRPr/>
              </a:pPr>
              <a:t>17</a:t>
            </a:fld>
            <a:endParaRPr lang="de-DE" dirty="0">
              <a:solidFill>
                <a:srgbClr val="000000"/>
              </a:solidFill>
            </a:endParaRPr>
          </a:p>
        </p:txBody>
      </p:sp>
    </p:spTree>
    <p:extLst>
      <p:ext uri="{BB962C8B-B14F-4D97-AF65-F5344CB8AC3E}">
        <p14:creationId xmlns:p14="http://schemas.microsoft.com/office/powerpoint/2010/main" val="5047225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7779D1-2149-C062-C296-826DF1FB3549}"/>
              </a:ext>
            </a:extLst>
          </p:cNvPr>
          <p:cNvSpPr>
            <a:spLocks noGrp="1"/>
          </p:cNvSpPr>
          <p:nvPr>
            <p:ph type="ctrTitle"/>
          </p:nvPr>
        </p:nvSpPr>
        <p:spPr>
          <a:xfrm>
            <a:off x="685800" y="1122363"/>
            <a:ext cx="7772400" cy="2387600"/>
          </a:xfrm>
        </p:spPr>
        <p:txBody>
          <a:bodyPr anchor="b">
            <a:normAutofit/>
          </a:bodyPr>
          <a:lstStyle/>
          <a:p>
            <a:pPr>
              <a:lnSpc>
                <a:spcPct val="90000"/>
              </a:lnSpc>
            </a:pPr>
            <a:r>
              <a:rPr lang="en-US" sz="3800" dirty="0"/>
              <a:t>Learning Objective 3</a:t>
            </a:r>
            <a:br>
              <a:rPr lang="en-US" sz="3800" dirty="0"/>
            </a:br>
            <a:br>
              <a:rPr lang="de-DE" sz="3800" b="0" dirty="0"/>
            </a:br>
            <a:endParaRPr lang="en-US" sz="3800" dirty="0"/>
          </a:p>
        </p:txBody>
      </p:sp>
      <p:sp>
        <p:nvSpPr>
          <p:cNvPr id="3" name="Subtitle 2">
            <a:extLst>
              <a:ext uri="{FF2B5EF4-FFF2-40B4-BE49-F238E27FC236}">
                <a16:creationId xmlns:a16="http://schemas.microsoft.com/office/drawing/2014/main" id="{BC254EC0-1DC3-B57E-4B7A-711EA94A01B2}"/>
              </a:ext>
            </a:extLst>
          </p:cNvPr>
          <p:cNvSpPr>
            <a:spLocks noGrp="1"/>
          </p:cNvSpPr>
          <p:nvPr>
            <p:ph type="subTitle" idx="1"/>
          </p:nvPr>
        </p:nvSpPr>
        <p:spPr>
          <a:xfrm>
            <a:off x="942278" y="3509963"/>
            <a:ext cx="6858000" cy="1655762"/>
          </a:xfrm>
        </p:spPr>
        <p:txBody>
          <a:bodyPr>
            <a:normAutofit/>
          </a:bodyPr>
          <a:lstStyle/>
          <a:p>
            <a:pPr lvl="0">
              <a:lnSpc>
                <a:spcPct val="100000"/>
              </a:lnSpc>
            </a:pPr>
            <a:r>
              <a:rPr lang="en-US" dirty="0"/>
              <a:t>EPDs TO DETERMINE THE ENVIRONMENTAL BENEFITS OF THE GPS-INSULATED VINYL SIDING SYSTEM. </a:t>
            </a:r>
          </a:p>
        </p:txBody>
      </p:sp>
      <p:pic>
        <p:nvPicPr>
          <p:cNvPr id="5" name="Graphic 4" descr="Magnifying glass outline">
            <a:extLst>
              <a:ext uri="{FF2B5EF4-FFF2-40B4-BE49-F238E27FC236}">
                <a16:creationId xmlns:a16="http://schemas.microsoft.com/office/drawing/2014/main" id="{099E2405-BD23-3B72-A8B4-609D7C399E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2278" y="-256479"/>
            <a:ext cx="7114479" cy="7114479"/>
          </a:xfrm>
          <a:prstGeom prst="rect">
            <a:avLst/>
          </a:prstGeom>
        </p:spPr>
      </p:pic>
    </p:spTree>
    <p:extLst>
      <p:ext uri="{BB962C8B-B14F-4D97-AF65-F5344CB8AC3E}">
        <p14:creationId xmlns:p14="http://schemas.microsoft.com/office/powerpoint/2010/main" val="40085343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24873" y="904671"/>
            <a:ext cx="8395854" cy="853200"/>
          </a:xfrm>
          <a:prstGeom prst="rect">
            <a:avLst/>
          </a:prstGeom>
        </p:spPr>
        <p:txBody>
          <a:bodyPr/>
          <a:lstStyle>
            <a:lvl1pPr algn="l" defTabSz="685800" rtl="0" eaLnBrk="1" latinLnBrk="0" hangingPunct="1">
              <a:lnSpc>
                <a:spcPct val="90000"/>
              </a:lnSpc>
              <a:spcBef>
                <a:spcPct val="0"/>
              </a:spcBef>
              <a:buNone/>
              <a:defRPr sz="2550" kern="1200">
                <a:solidFill>
                  <a:schemeClr val="accent1"/>
                </a:solidFill>
                <a:latin typeface="+mj-lt"/>
                <a:ea typeface="+mj-ea"/>
                <a:cs typeface="+mj-cs"/>
              </a:defRPr>
            </a:lvl1pPr>
          </a:lstStyle>
          <a:p>
            <a:endParaRPr lang="en-US" sz="2100" b="1" dirty="0"/>
          </a:p>
        </p:txBody>
      </p:sp>
      <p:sp>
        <p:nvSpPr>
          <p:cNvPr id="10" name="Rectangle 9"/>
          <p:cNvSpPr/>
          <p:nvPr/>
        </p:nvSpPr>
        <p:spPr>
          <a:xfrm>
            <a:off x="424873" y="3631844"/>
            <a:ext cx="3602182" cy="9005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rPr>
              <a:t>Uses 30% less material mass than XPS for the same R-value</a:t>
            </a:r>
          </a:p>
        </p:txBody>
      </p:sp>
      <p:sp>
        <p:nvSpPr>
          <p:cNvPr id="11" name="Rectangle 10"/>
          <p:cNvSpPr/>
          <p:nvPr/>
        </p:nvSpPr>
        <p:spPr>
          <a:xfrm>
            <a:off x="424873" y="4778061"/>
            <a:ext cx="3602182" cy="8045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rPr>
              <a:t>+/- 25% more thermal resistance than EPS at the same thickness</a:t>
            </a:r>
          </a:p>
        </p:txBody>
      </p:sp>
      <p:pic>
        <p:nvPicPr>
          <p:cNvPr id="4" name="Picture 3" descr="Diagram of a house and a building&#10;&#10;Description automatically generated">
            <a:extLst>
              <a:ext uri="{FF2B5EF4-FFF2-40B4-BE49-F238E27FC236}">
                <a16:creationId xmlns:a16="http://schemas.microsoft.com/office/drawing/2014/main" id="{EB9483A8-A9D8-3781-6673-F9A422313401}"/>
              </a:ext>
            </a:extLst>
          </p:cNvPr>
          <p:cNvPicPr>
            <a:picLocks noChangeAspect="1"/>
          </p:cNvPicPr>
          <p:nvPr/>
        </p:nvPicPr>
        <p:blipFill>
          <a:blip r:embed="rId4">
            <a:alphaModFix/>
            <a:extLst>
              <a:ext uri="{28A0092B-C50C-407E-A947-70E740481C1C}">
                <a14:useLocalDpi xmlns:a14="http://schemas.microsoft.com/office/drawing/2010/main" val="0"/>
              </a:ext>
            </a:extLst>
          </a:blip>
          <a:stretch>
            <a:fillRect/>
          </a:stretch>
        </p:blipFill>
        <p:spPr>
          <a:xfrm>
            <a:off x="4996873" y="1441997"/>
            <a:ext cx="3103418" cy="4140635"/>
          </a:xfrm>
          <a:prstGeom prst="rect">
            <a:avLst/>
          </a:prstGeom>
        </p:spPr>
      </p:pic>
      <p:sp>
        <p:nvSpPr>
          <p:cNvPr id="5" name="Title 4">
            <a:extLst>
              <a:ext uri="{FF2B5EF4-FFF2-40B4-BE49-F238E27FC236}">
                <a16:creationId xmlns:a16="http://schemas.microsoft.com/office/drawing/2014/main" id="{0E6200B8-F468-4ECA-9182-3BBD8343940C}"/>
              </a:ext>
            </a:extLst>
          </p:cNvPr>
          <p:cNvSpPr>
            <a:spLocks noGrp="1"/>
          </p:cNvSpPr>
          <p:nvPr>
            <p:ph type="title"/>
          </p:nvPr>
        </p:nvSpPr>
        <p:spPr>
          <a:xfrm>
            <a:off x="375228" y="465962"/>
            <a:ext cx="8294254" cy="853200"/>
          </a:xfrm>
        </p:spPr>
        <p:txBody>
          <a:bodyPr/>
          <a:lstStyle/>
          <a:p>
            <a:r>
              <a:rPr lang="en-GB" sz="2100" b="1" dirty="0"/>
              <a:t>UNDERSTANDING THE </a:t>
            </a:r>
            <a:r>
              <a:rPr lang="en-GB" dirty="0"/>
              <a:t>OPERATIONAL AND EMBODIED CARBON OF </a:t>
            </a:r>
            <a:r>
              <a:rPr lang="en-GB" sz="2100" b="1" dirty="0"/>
              <a:t>GRAPHITE POLYSTYRENE INSULATION </a:t>
            </a:r>
            <a:br>
              <a:rPr lang="en-GB" sz="2100" b="1" dirty="0"/>
            </a:br>
            <a:br>
              <a:rPr lang="en-GB" sz="2100" b="1" dirty="0"/>
            </a:br>
            <a:endParaRPr lang="en-US" dirty="0"/>
          </a:p>
        </p:txBody>
      </p:sp>
      <p:sp>
        <p:nvSpPr>
          <p:cNvPr id="8" name="TextBox 7">
            <a:extLst>
              <a:ext uri="{FF2B5EF4-FFF2-40B4-BE49-F238E27FC236}">
                <a16:creationId xmlns:a16="http://schemas.microsoft.com/office/drawing/2014/main" id="{9EB96224-2E00-67A7-DC9C-309AE307D383}"/>
              </a:ext>
            </a:extLst>
          </p:cNvPr>
          <p:cNvSpPr txBox="1"/>
          <p:nvPr/>
        </p:nvSpPr>
        <p:spPr>
          <a:xfrm>
            <a:off x="5338618" y="5684115"/>
            <a:ext cx="2419927" cy="153888"/>
          </a:xfrm>
          <a:prstGeom prst="rect">
            <a:avLst/>
          </a:prstGeom>
          <a:noFill/>
        </p:spPr>
        <p:txBody>
          <a:bodyPr wrap="square" lIns="0" tIns="0" rIns="0" bIns="0" rtlCol="0">
            <a:spAutoFit/>
          </a:bodyPr>
          <a:lstStyle/>
          <a:p>
            <a:pPr algn="ctr"/>
            <a:r>
              <a:rPr lang="en-US" sz="1000" dirty="0"/>
              <a:t>Images Courtesy BASF </a:t>
            </a:r>
          </a:p>
        </p:txBody>
      </p:sp>
      <p:sp>
        <p:nvSpPr>
          <p:cNvPr id="16" name="TextBox 15">
            <a:extLst>
              <a:ext uri="{FF2B5EF4-FFF2-40B4-BE49-F238E27FC236}">
                <a16:creationId xmlns:a16="http://schemas.microsoft.com/office/drawing/2014/main" id="{583C912B-08D9-51CD-7BE3-529DE7D290C0}"/>
              </a:ext>
            </a:extLst>
          </p:cNvPr>
          <p:cNvSpPr txBox="1"/>
          <p:nvPr/>
        </p:nvSpPr>
        <p:spPr>
          <a:xfrm>
            <a:off x="5640140" y="1319162"/>
            <a:ext cx="2535773" cy="276999"/>
          </a:xfrm>
          <a:prstGeom prst="rect">
            <a:avLst/>
          </a:prstGeom>
          <a:noFill/>
        </p:spPr>
        <p:txBody>
          <a:bodyPr wrap="square" lIns="0" tIns="0" rIns="0" bIns="0" rtlCol="0">
            <a:spAutoFit/>
          </a:bodyPr>
          <a:lstStyle/>
          <a:p>
            <a:r>
              <a:rPr lang="en-US" dirty="0"/>
              <a:t>More with Less Material</a:t>
            </a:r>
          </a:p>
        </p:txBody>
      </p:sp>
      <p:sp>
        <p:nvSpPr>
          <p:cNvPr id="3" name="TextBox 2">
            <a:extLst>
              <a:ext uri="{FF2B5EF4-FFF2-40B4-BE49-F238E27FC236}">
                <a16:creationId xmlns:a16="http://schemas.microsoft.com/office/drawing/2014/main" id="{35DF7640-83ED-48C8-AEF9-D8BC544F4098}"/>
              </a:ext>
            </a:extLst>
          </p:cNvPr>
          <p:cNvSpPr txBox="1"/>
          <p:nvPr/>
        </p:nvSpPr>
        <p:spPr>
          <a:xfrm>
            <a:off x="424873" y="1843480"/>
            <a:ext cx="2767213" cy="553998"/>
          </a:xfrm>
          <a:prstGeom prst="rect">
            <a:avLst/>
          </a:prstGeom>
          <a:noFill/>
        </p:spPr>
        <p:txBody>
          <a:bodyPr wrap="square" lIns="0" tIns="0" rIns="0" bIns="0" rtlCol="0">
            <a:spAutoFit/>
          </a:bodyPr>
          <a:lstStyle/>
          <a:p>
            <a:r>
              <a:rPr lang="en-US" b="1" dirty="0"/>
              <a:t>Less Density with More R-Value = Less Carbon </a:t>
            </a:r>
          </a:p>
        </p:txBody>
      </p:sp>
      <p:sp>
        <p:nvSpPr>
          <p:cNvPr id="7" name="Rectangle 6">
            <a:extLst>
              <a:ext uri="{FF2B5EF4-FFF2-40B4-BE49-F238E27FC236}">
                <a16:creationId xmlns:a16="http://schemas.microsoft.com/office/drawing/2014/main" id="{760C2B28-C994-CBBE-39F8-F3FC36CC8D54}"/>
              </a:ext>
            </a:extLst>
          </p:cNvPr>
          <p:cNvSpPr/>
          <p:nvPr/>
        </p:nvSpPr>
        <p:spPr>
          <a:xfrm>
            <a:off x="424873" y="2590686"/>
            <a:ext cx="3602182" cy="9005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Less embodied carbon than any rigid insulation in NA </a:t>
            </a:r>
          </a:p>
          <a:p>
            <a:r>
              <a:rPr lang="en-US" sz="1400" dirty="0">
                <a:solidFill>
                  <a:schemeClr val="bg1"/>
                </a:solidFill>
              </a:rPr>
              <a:t>(50% less than regular EPS)</a:t>
            </a:r>
          </a:p>
        </p:txBody>
      </p:sp>
    </p:spTree>
    <p:custDataLst>
      <p:tags r:id="rId1"/>
    </p:custDataLst>
    <p:extLst>
      <p:ext uri="{BB962C8B-B14F-4D97-AF65-F5344CB8AC3E}">
        <p14:creationId xmlns:p14="http://schemas.microsoft.com/office/powerpoint/2010/main" val="1155485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4294967295"/>
          </p:nvPr>
        </p:nvSpPr>
        <p:spPr>
          <a:xfrm>
            <a:off x="0" y="1475581"/>
            <a:ext cx="9145949" cy="3906838"/>
          </a:xfrm>
        </p:spPr>
        <p:txBody>
          <a:bodyPr/>
          <a:lstStyle/>
          <a:p>
            <a:pPr marL="0" indent="0" algn="ctr">
              <a:buNone/>
            </a:pPr>
            <a:r>
              <a:rPr lang="en-US" sz="2000" dirty="0">
                <a:cs typeface="Arial" panose="020B0604020202020204" pitchFamily="34" charset="0"/>
              </a:rPr>
              <a:t>This presentation is protected by U.S. and International </a:t>
            </a:r>
            <a:br>
              <a:rPr lang="en-US" sz="2000" dirty="0">
                <a:cs typeface="Arial" panose="020B0604020202020204" pitchFamily="34" charset="0"/>
              </a:rPr>
            </a:br>
            <a:r>
              <a:rPr lang="en-US" sz="2000" dirty="0">
                <a:cs typeface="Arial" panose="020B0604020202020204" pitchFamily="34" charset="0"/>
              </a:rPr>
              <a:t>copyright laws. Reproduction, distribution, display, and </a:t>
            </a:r>
            <a:br>
              <a:rPr lang="en-US" sz="2000" dirty="0">
                <a:cs typeface="Arial" panose="020B0604020202020204" pitchFamily="34" charset="0"/>
              </a:rPr>
            </a:br>
            <a:r>
              <a:rPr lang="en-US" sz="2000" dirty="0">
                <a:cs typeface="Arial" panose="020B0604020202020204" pitchFamily="34" charset="0"/>
              </a:rPr>
              <a:t>use of the presentation without written permission </a:t>
            </a:r>
            <a:br>
              <a:rPr lang="en-US" sz="2000" dirty="0">
                <a:cs typeface="Arial" panose="020B0604020202020204" pitchFamily="34" charset="0"/>
              </a:rPr>
            </a:br>
            <a:r>
              <a:rPr lang="en-US" sz="2000" dirty="0">
                <a:cs typeface="Arial" panose="020B0604020202020204" pitchFamily="34" charset="0"/>
              </a:rPr>
              <a:t>of BASF is prohibited.</a:t>
            </a:r>
          </a:p>
          <a:p>
            <a:pPr marL="0" indent="0" algn="ctr">
              <a:buNone/>
            </a:pPr>
            <a:endParaRPr lang="en-US" sz="1800" dirty="0">
              <a:cs typeface="Arial" panose="020B0604020202020204" pitchFamily="34" charset="0"/>
            </a:endParaRPr>
          </a:p>
          <a:p>
            <a:pPr marL="0" indent="0" algn="ctr">
              <a:buNone/>
            </a:pPr>
            <a:r>
              <a:rPr lang="en-US" sz="2000" dirty="0">
                <a:cs typeface="Arial" panose="020B0604020202020204" pitchFamily="34" charset="0"/>
              </a:rPr>
              <a:t>©BASF, 2023</a:t>
            </a:r>
          </a:p>
          <a:p>
            <a:endParaRPr lang="en-US" dirty="0"/>
          </a:p>
        </p:txBody>
      </p:sp>
      <p:sp>
        <p:nvSpPr>
          <p:cNvPr id="4" name="Title 3"/>
          <p:cNvSpPr>
            <a:spLocks noGrp="1"/>
          </p:cNvSpPr>
          <p:nvPr>
            <p:ph type="title" idx="4294967295"/>
          </p:nvPr>
        </p:nvSpPr>
        <p:spPr>
          <a:xfrm>
            <a:off x="171450" y="621506"/>
            <a:ext cx="8801100" cy="854075"/>
          </a:xfrm>
        </p:spPr>
        <p:txBody>
          <a:bodyPr/>
          <a:lstStyle/>
          <a:p>
            <a:pPr algn="ctr"/>
            <a:r>
              <a:rPr lang="en-US" dirty="0">
                <a:cs typeface="Arial" panose="020B0604020202020204" pitchFamily="34" charset="0"/>
              </a:rPr>
              <a:t>COPYRIGHT MATERIALS</a:t>
            </a:r>
            <a:br>
              <a:rPr lang="de-DE" dirty="0">
                <a:cs typeface="Arial" panose="020B0604020202020204" pitchFamily="34" charset="0"/>
              </a:rPr>
            </a:br>
            <a:endParaRPr lang="en-US" dirty="0"/>
          </a:p>
        </p:txBody>
      </p:sp>
      <p:pic>
        <p:nvPicPr>
          <p:cNvPr id="6" name="Picture 5">
            <a:extLst>
              <a:ext uri="{FF2B5EF4-FFF2-40B4-BE49-F238E27FC236}">
                <a16:creationId xmlns:a16="http://schemas.microsoft.com/office/drawing/2014/main" id="{BEA60824-FC66-45D1-BADC-BD7C84C32E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20974" y="4221099"/>
            <a:ext cx="2702052" cy="1351026"/>
          </a:xfrm>
          <a:prstGeom prst="rect">
            <a:avLst/>
          </a:prstGeom>
        </p:spPr>
      </p:pic>
    </p:spTree>
    <p:custDataLst>
      <p:tags r:id="rId1"/>
    </p:custDataLst>
    <p:extLst>
      <p:ext uri="{BB962C8B-B14F-4D97-AF65-F5344CB8AC3E}">
        <p14:creationId xmlns:p14="http://schemas.microsoft.com/office/powerpoint/2010/main" val="21677194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EEEF1"/>
        </a:solidFill>
        <a:effectLst/>
      </p:bgPr>
    </p:bg>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6A2556DA-9FA6-E270-0FFB-FFB2891FC4AD}"/>
              </a:ext>
            </a:extLst>
          </p:cNvPr>
          <p:cNvSpPr>
            <a:spLocks noGrp="1"/>
          </p:cNvSpPr>
          <p:nvPr>
            <p:ph type="title"/>
          </p:nvPr>
        </p:nvSpPr>
        <p:spPr>
          <a:xfrm>
            <a:off x="417727" y="401487"/>
            <a:ext cx="8654159" cy="853200"/>
          </a:xfrm>
        </p:spPr>
        <p:txBody>
          <a:bodyPr>
            <a:normAutofit/>
          </a:bodyPr>
          <a:lstStyle/>
          <a:p>
            <a:r>
              <a:rPr lang="en-US" sz="2000" dirty="0"/>
              <a:t>EMBODIED CARBON VALUES IN COMMON INSULATION MATERIALS,   KPMB ARCHITECTS 2021 ANALYSIS </a:t>
            </a:r>
          </a:p>
        </p:txBody>
      </p:sp>
      <p:graphicFrame>
        <p:nvGraphicFramePr>
          <p:cNvPr id="26" name="Content Placeholder 25">
            <a:extLst>
              <a:ext uri="{FF2B5EF4-FFF2-40B4-BE49-F238E27FC236}">
                <a16:creationId xmlns:a16="http://schemas.microsoft.com/office/drawing/2014/main" id="{D650A06E-AEC7-892F-ADE4-916F11B1032C}"/>
              </a:ext>
            </a:extLst>
          </p:cNvPr>
          <p:cNvGraphicFramePr>
            <a:graphicFrameLocks noGrp="1"/>
          </p:cNvGraphicFramePr>
          <p:nvPr>
            <p:ph idx="4294967295"/>
            <p:extLst>
              <p:ext uri="{D42A27DB-BD31-4B8C-83A1-F6EECF244321}">
                <p14:modId xmlns:p14="http://schemas.microsoft.com/office/powerpoint/2010/main" val="344139861"/>
              </p:ext>
            </p:extLst>
          </p:nvPr>
        </p:nvGraphicFramePr>
        <p:xfrm>
          <a:off x="417728" y="1479719"/>
          <a:ext cx="1660525" cy="5218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descr="A graph of carbon dioxide&#10;&#10;Description automatically generated">
            <a:extLst>
              <a:ext uri="{FF2B5EF4-FFF2-40B4-BE49-F238E27FC236}">
                <a16:creationId xmlns:a16="http://schemas.microsoft.com/office/drawing/2014/main" id="{6C52B583-EBD3-A053-C8E7-5819690C2DBB}"/>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246203" y="1286701"/>
            <a:ext cx="5998767" cy="5218113"/>
          </a:xfrm>
          <a:prstGeom prst="rect">
            <a:avLst/>
          </a:prstGeom>
        </p:spPr>
      </p:pic>
      <p:sp>
        <p:nvSpPr>
          <p:cNvPr id="6" name="TextBox 5">
            <a:extLst>
              <a:ext uri="{FF2B5EF4-FFF2-40B4-BE49-F238E27FC236}">
                <a16:creationId xmlns:a16="http://schemas.microsoft.com/office/drawing/2014/main" id="{8A07902A-645A-8B91-AA1A-A46298BF7768}"/>
              </a:ext>
            </a:extLst>
          </p:cNvPr>
          <p:cNvSpPr txBox="1"/>
          <p:nvPr/>
        </p:nvSpPr>
        <p:spPr>
          <a:xfrm>
            <a:off x="6924655" y="2561931"/>
            <a:ext cx="1711568" cy="215444"/>
          </a:xfrm>
          <a:prstGeom prst="rect">
            <a:avLst/>
          </a:prstGeom>
          <a:solidFill>
            <a:srgbClr val="EBEBEC"/>
          </a:solidFill>
        </p:spPr>
        <p:txBody>
          <a:bodyPr wrap="square" lIns="0" tIns="0" rIns="0" bIns="0" rtlCol="0">
            <a:spAutoFit/>
          </a:bodyPr>
          <a:lstStyle/>
          <a:p>
            <a:r>
              <a:rPr lang="en-US" sz="1400" dirty="0"/>
              <a:t>Dupont XPS</a:t>
            </a:r>
          </a:p>
        </p:txBody>
      </p:sp>
      <p:sp>
        <p:nvSpPr>
          <p:cNvPr id="7" name="TextBox 6">
            <a:extLst>
              <a:ext uri="{FF2B5EF4-FFF2-40B4-BE49-F238E27FC236}">
                <a16:creationId xmlns:a16="http://schemas.microsoft.com/office/drawing/2014/main" id="{BBD99C01-4FA9-342D-080A-7813EF32B60B}"/>
              </a:ext>
            </a:extLst>
          </p:cNvPr>
          <p:cNvSpPr txBox="1"/>
          <p:nvPr/>
        </p:nvSpPr>
        <p:spPr>
          <a:xfrm>
            <a:off x="6919446" y="3421167"/>
            <a:ext cx="1646744" cy="215444"/>
          </a:xfrm>
          <a:prstGeom prst="rect">
            <a:avLst/>
          </a:prstGeom>
          <a:noFill/>
        </p:spPr>
        <p:txBody>
          <a:bodyPr wrap="square" lIns="0" tIns="0" rIns="0" bIns="0" rtlCol="0">
            <a:spAutoFit/>
          </a:bodyPr>
          <a:lstStyle/>
          <a:p>
            <a:r>
              <a:rPr lang="en-US" sz="1400" dirty="0"/>
              <a:t>Dupont New XPS</a:t>
            </a:r>
          </a:p>
        </p:txBody>
      </p:sp>
      <p:sp>
        <p:nvSpPr>
          <p:cNvPr id="8" name="TextBox 7">
            <a:extLst>
              <a:ext uri="{FF2B5EF4-FFF2-40B4-BE49-F238E27FC236}">
                <a16:creationId xmlns:a16="http://schemas.microsoft.com/office/drawing/2014/main" id="{8CD8D553-A292-5204-72AA-1740B658A57A}"/>
              </a:ext>
            </a:extLst>
          </p:cNvPr>
          <p:cNvSpPr txBox="1"/>
          <p:nvPr/>
        </p:nvSpPr>
        <p:spPr>
          <a:xfrm>
            <a:off x="6921994" y="3855188"/>
            <a:ext cx="2105482" cy="215444"/>
          </a:xfrm>
          <a:prstGeom prst="rect">
            <a:avLst/>
          </a:prstGeom>
          <a:noFill/>
        </p:spPr>
        <p:txBody>
          <a:bodyPr wrap="square" lIns="0" tIns="0" rIns="0" bIns="0" rtlCol="0">
            <a:spAutoFit/>
          </a:bodyPr>
          <a:lstStyle/>
          <a:p>
            <a:r>
              <a:rPr lang="en-US" sz="1400" dirty="0"/>
              <a:t>Owens Corning XPS</a:t>
            </a:r>
          </a:p>
        </p:txBody>
      </p:sp>
      <p:sp>
        <p:nvSpPr>
          <p:cNvPr id="9" name="TextBox 8">
            <a:extLst>
              <a:ext uri="{FF2B5EF4-FFF2-40B4-BE49-F238E27FC236}">
                <a16:creationId xmlns:a16="http://schemas.microsoft.com/office/drawing/2014/main" id="{96911415-DEC7-B9DD-92FF-B0BCE8F96AF5}"/>
              </a:ext>
            </a:extLst>
          </p:cNvPr>
          <p:cNvSpPr txBox="1"/>
          <p:nvPr/>
        </p:nvSpPr>
        <p:spPr>
          <a:xfrm>
            <a:off x="6921994" y="4462454"/>
            <a:ext cx="2105482" cy="215444"/>
          </a:xfrm>
          <a:prstGeom prst="rect">
            <a:avLst/>
          </a:prstGeom>
          <a:noFill/>
        </p:spPr>
        <p:txBody>
          <a:bodyPr wrap="square" lIns="0" tIns="0" rIns="0" bIns="0" rtlCol="0">
            <a:spAutoFit/>
          </a:bodyPr>
          <a:lstStyle/>
          <a:p>
            <a:r>
              <a:rPr lang="en-US" sz="1400" dirty="0"/>
              <a:t>Owens Corning  New XPS</a:t>
            </a:r>
          </a:p>
        </p:txBody>
      </p:sp>
      <p:sp>
        <p:nvSpPr>
          <p:cNvPr id="10" name="TextBox 9">
            <a:extLst>
              <a:ext uri="{FF2B5EF4-FFF2-40B4-BE49-F238E27FC236}">
                <a16:creationId xmlns:a16="http://schemas.microsoft.com/office/drawing/2014/main" id="{F7B88AC4-B3BC-398F-41FD-E53AC3591E30}"/>
              </a:ext>
            </a:extLst>
          </p:cNvPr>
          <p:cNvSpPr txBox="1"/>
          <p:nvPr/>
        </p:nvSpPr>
        <p:spPr>
          <a:xfrm>
            <a:off x="7820402" y="4709198"/>
            <a:ext cx="1421067" cy="246221"/>
          </a:xfrm>
          <a:prstGeom prst="rect">
            <a:avLst/>
          </a:prstGeom>
          <a:noFill/>
        </p:spPr>
        <p:txBody>
          <a:bodyPr wrap="square" lIns="0" tIns="0" rIns="0" bIns="0" rtlCol="0">
            <a:spAutoFit/>
          </a:bodyPr>
          <a:lstStyle/>
          <a:p>
            <a:r>
              <a:rPr lang="en-US" sz="1600" dirty="0"/>
              <a:t>Neopor GPS</a:t>
            </a:r>
          </a:p>
        </p:txBody>
      </p:sp>
      <p:sp>
        <p:nvSpPr>
          <p:cNvPr id="4" name="TextBox 3">
            <a:extLst>
              <a:ext uri="{FF2B5EF4-FFF2-40B4-BE49-F238E27FC236}">
                <a16:creationId xmlns:a16="http://schemas.microsoft.com/office/drawing/2014/main" id="{3FCB4609-E8F1-0545-5CE0-136662FDCDF8}"/>
              </a:ext>
            </a:extLst>
          </p:cNvPr>
          <p:cNvSpPr txBox="1"/>
          <p:nvPr/>
        </p:nvSpPr>
        <p:spPr>
          <a:xfrm>
            <a:off x="899030" y="6470699"/>
            <a:ext cx="8172857" cy="276999"/>
          </a:xfrm>
          <a:prstGeom prst="rect">
            <a:avLst/>
          </a:prstGeom>
          <a:noFill/>
        </p:spPr>
        <p:txBody>
          <a:bodyPr wrap="square">
            <a:spAutoFit/>
          </a:bodyPr>
          <a:lstStyle/>
          <a:p>
            <a:pPr algn="ctr"/>
            <a:r>
              <a:rPr lang="en-US" sz="1200" dirty="0">
                <a:solidFill>
                  <a:schemeClr val="tx2"/>
                </a:solidFill>
                <a:effectLst/>
                <a:latin typeface="Helvetica" pitchFamily="2" charset="0"/>
              </a:rPr>
              <a:t>Source: </a:t>
            </a:r>
            <a:r>
              <a:rPr lang="en-US" sz="1200" dirty="0">
                <a:solidFill>
                  <a:schemeClr val="tx2"/>
                </a:solidFill>
                <a:effectLst/>
                <a:latin typeface="Helvetica" pitchFamily="2" charset="0"/>
                <a:hlinkClick r:id="rId9"/>
              </a:rPr>
              <a:t>Embodied Carbon Values in</a:t>
            </a:r>
            <a:r>
              <a:rPr lang="en-US" sz="1200" dirty="0">
                <a:solidFill>
                  <a:schemeClr val="tx2"/>
                </a:solidFill>
                <a:latin typeface="Helvetica" pitchFamily="2" charset="0"/>
                <a:hlinkClick r:id="rId9"/>
              </a:rPr>
              <a:t> </a:t>
            </a:r>
            <a:r>
              <a:rPr lang="en-US" sz="1200" dirty="0">
                <a:solidFill>
                  <a:schemeClr val="tx2"/>
                </a:solidFill>
                <a:effectLst/>
                <a:latin typeface="Helvetica" pitchFamily="2" charset="0"/>
                <a:hlinkClick r:id="rId9"/>
              </a:rPr>
              <a:t>Common Insulation Materials; KPMB Architects </a:t>
            </a:r>
            <a:endParaRPr lang="en-US" sz="1200" dirty="0">
              <a:solidFill>
                <a:schemeClr val="tx2"/>
              </a:solidFill>
              <a:effectLst/>
              <a:latin typeface="Helvetica" pitchFamily="2" charset="0"/>
            </a:endParaRPr>
          </a:p>
        </p:txBody>
      </p:sp>
      <p:sp>
        <p:nvSpPr>
          <p:cNvPr id="16" name="TextBox 15">
            <a:extLst>
              <a:ext uri="{FF2B5EF4-FFF2-40B4-BE49-F238E27FC236}">
                <a16:creationId xmlns:a16="http://schemas.microsoft.com/office/drawing/2014/main" id="{EBB419FB-48C3-F9B2-54A6-D91FC94786CA}"/>
              </a:ext>
            </a:extLst>
          </p:cNvPr>
          <p:cNvSpPr txBox="1"/>
          <p:nvPr/>
        </p:nvSpPr>
        <p:spPr>
          <a:xfrm>
            <a:off x="8530936" y="581891"/>
            <a:ext cx="65" cy="276999"/>
          </a:xfrm>
          <a:prstGeom prst="rect">
            <a:avLst/>
          </a:prstGeom>
          <a:solidFill>
            <a:srgbClr val="EBEBEC"/>
          </a:solidFill>
        </p:spPr>
        <p:txBody>
          <a:bodyPr wrap="none" lIns="0" tIns="0" rIns="0" bIns="0" rtlCol="0">
            <a:spAutoFit/>
          </a:bodyPr>
          <a:lstStyle/>
          <a:p>
            <a:endParaRPr lang="en-US" dirty="0"/>
          </a:p>
        </p:txBody>
      </p:sp>
      <p:pic>
        <p:nvPicPr>
          <p:cNvPr id="21" name="Picture 20" descr="A close-up of a graph&#10;&#10;Description automatically generated">
            <a:extLst>
              <a:ext uri="{FF2B5EF4-FFF2-40B4-BE49-F238E27FC236}">
                <a16:creationId xmlns:a16="http://schemas.microsoft.com/office/drawing/2014/main" id="{83CB1525-CCA3-F7BA-EB03-AE288E5A7F7F}"/>
              </a:ext>
            </a:extLst>
          </p:cNvPr>
          <p:cNvPicPr>
            <a:picLocks noChangeAspect="1"/>
          </p:cNvPicPr>
          <p:nvPr/>
        </p:nvPicPr>
        <p:blipFill>
          <a:blip r:embed="rId1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7174930" y="4954949"/>
            <a:ext cx="902090" cy="66380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23" name="Elbow Connector 22">
            <a:extLst>
              <a:ext uri="{FF2B5EF4-FFF2-40B4-BE49-F238E27FC236}">
                <a16:creationId xmlns:a16="http://schemas.microsoft.com/office/drawing/2014/main" id="{F9B80A93-30B9-4075-0AC9-DB5C78013E82}"/>
              </a:ext>
            </a:extLst>
          </p:cNvPr>
          <p:cNvCxnSpPr>
            <a:cxnSpLocks/>
          </p:cNvCxnSpPr>
          <p:nvPr/>
        </p:nvCxnSpPr>
        <p:spPr>
          <a:xfrm rot="10800000" flipV="1">
            <a:off x="7974735" y="4919742"/>
            <a:ext cx="942928" cy="2738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88642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Content Placeholder 20" descr="A graph showing the amount of gas in the heat&#10;&#10;Description automatically generated with medium confidence">
            <a:extLst>
              <a:ext uri="{FF2B5EF4-FFF2-40B4-BE49-F238E27FC236}">
                <a16:creationId xmlns:a16="http://schemas.microsoft.com/office/drawing/2014/main" id="{4310BEFB-B966-85FD-CE2D-CA60B39E30AD}"/>
              </a:ext>
            </a:extLst>
          </p:cNvPr>
          <p:cNvPicPr>
            <a:picLocks noGrp="1" noChangeAspect="1"/>
          </p:cNvPicPr>
          <p:nvPr>
            <p:ph idx="1"/>
          </p:nvPr>
        </p:nvPicPr>
        <p:blipFill rotWithShape="1">
          <a:blip r:embed="rId3">
            <a:extLst>
              <a:ext uri="{28A0092B-C50C-407E-A947-70E740481C1C}">
                <a14:useLocalDpi xmlns:a14="http://schemas.microsoft.com/office/drawing/2010/main"/>
              </a:ext>
            </a:extLst>
          </a:blip>
          <a:srcRect/>
          <a:stretch/>
        </p:blipFill>
        <p:spPr>
          <a:xfrm>
            <a:off x="0" y="48293"/>
            <a:ext cx="9230782" cy="5387309"/>
          </a:xfrm>
        </p:spPr>
      </p:pic>
      <p:sp>
        <p:nvSpPr>
          <p:cNvPr id="18" name="Title 17">
            <a:extLst>
              <a:ext uri="{FF2B5EF4-FFF2-40B4-BE49-F238E27FC236}">
                <a16:creationId xmlns:a16="http://schemas.microsoft.com/office/drawing/2014/main" id="{F61ECA52-27F0-EA0C-BFCC-87307F5349B0}"/>
              </a:ext>
            </a:extLst>
          </p:cNvPr>
          <p:cNvSpPr>
            <a:spLocks noGrp="1"/>
          </p:cNvSpPr>
          <p:nvPr>
            <p:ph type="title"/>
          </p:nvPr>
        </p:nvSpPr>
        <p:spPr>
          <a:xfrm>
            <a:off x="1440283" y="271993"/>
            <a:ext cx="7628967" cy="853200"/>
          </a:xfrm>
        </p:spPr>
        <p:txBody>
          <a:bodyPr/>
          <a:lstStyle/>
          <a:p>
            <a:r>
              <a:rPr lang="en-US" sz="1800" dirty="0"/>
              <a:t>Carbon Payback Analysis Natural Gas Heating Scenario (0-16 Years)</a:t>
            </a:r>
          </a:p>
        </p:txBody>
      </p:sp>
      <p:sp>
        <p:nvSpPr>
          <p:cNvPr id="4" name="Date Placeholder 3">
            <a:extLst>
              <a:ext uri="{FF2B5EF4-FFF2-40B4-BE49-F238E27FC236}">
                <a16:creationId xmlns:a16="http://schemas.microsoft.com/office/drawing/2014/main" id="{B343284C-D16A-6E37-3024-15B8AAAFAAD2}"/>
              </a:ext>
            </a:extLst>
          </p:cNvPr>
          <p:cNvSpPr>
            <a:spLocks noGrp="1"/>
          </p:cNvSpPr>
          <p:nvPr>
            <p:ph type="dt" sz="half" idx="11"/>
          </p:nvPr>
        </p:nvSpPr>
        <p:spPr/>
        <p:txBody>
          <a:bodyPr/>
          <a:lstStyle/>
          <a:p>
            <a:pPr>
              <a:defRPr/>
            </a:pPr>
            <a:fld id="{1550AD6C-84CC-4A5E-86D3-FC3E11464A67}"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71DF1456-D361-6C52-B96F-E22BEA85417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21</a:t>
            </a:fld>
            <a:endParaRPr lang="de-DE" dirty="0">
              <a:solidFill>
                <a:srgbClr val="000000"/>
              </a:solidFill>
            </a:endParaRPr>
          </a:p>
        </p:txBody>
      </p:sp>
      <p:pic>
        <p:nvPicPr>
          <p:cNvPr id="23" name="Picture 22" descr="A diagram of a graph&#10;&#10;Description automatically generated">
            <a:extLst>
              <a:ext uri="{FF2B5EF4-FFF2-40B4-BE49-F238E27FC236}">
                <a16:creationId xmlns:a16="http://schemas.microsoft.com/office/drawing/2014/main" id="{D3E355F1-519F-8D00-CEC3-43C3730C5B6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273909" y="3429000"/>
            <a:ext cx="1956873" cy="2202965"/>
          </a:xfrm>
          <a:prstGeom prst="rect">
            <a:avLst/>
          </a:prstGeom>
        </p:spPr>
      </p:pic>
      <p:pic>
        <p:nvPicPr>
          <p:cNvPr id="26" name="Picture 25">
            <a:extLst>
              <a:ext uri="{FF2B5EF4-FFF2-40B4-BE49-F238E27FC236}">
                <a16:creationId xmlns:a16="http://schemas.microsoft.com/office/drawing/2014/main" id="{C23F74AD-DC66-DD11-E2A7-1D27A6131B0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5753014"/>
            <a:ext cx="9156032" cy="1104986"/>
          </a:xfrm>
          <a:prstGeom prst="rect">
            <a:avLst/>
          </a:prstGeom>
        </p:spPr>
      </p:pic>
      <p:sp>
        <p:nvSpPr>
          <p:cNvPr id="29" name="TextBox 28">
            <a:extLst>
              <a:ext uri="{FF2B5EF4-FFF2-40B4-BE49-F238E27FC236}">
                <a16:creationId xmlns:a16="http://schemas.microsoft.com/office/drawing/2014/main" id="{3EA0A241-837E-D622-72BB-D7DC083B6616}"/>
              </a:ext>
            </a:extLst>
          </p:cNvPr>
          <p:cNvSpPr txBox="1"/>
          <p:nvPr/>
        </p:nvSpPr>
        <p:spPr>
          <a:xfrm>
            <a:off x="74750" y="5455808"/>
            <a:ext cx="8450999" cy="276999"/>
          </a:xfrm>
          <a:prstGeom prst="rect">
            <a:avLst/>
          </a:prstGeom>
          <a:noFill/>
        </p:spPr>
        <p:txBody>
          <a:bodyPr wrap="square">
            <a:spAutoFit/>
          </a:bodyPr>
          <a:lstStyle/>
          <a:p>
            <a:r>
              <a:rPr lang="en-US" sz="1200" i="1" dirty="0">
                <a:solidFill>
                  <a:schemeClr val="tx2"/>
                </a:solidFill>
                <a:effectLst/>
                <a:latin typeface="Helvetica" pitchFamily="2" charset="0"/>
              </a:rPr>
              <a:t>Source: Embodied Carbon Values in</a:t>
            </a:r>
            <a:r>
              <a:rPr lang="en-US" sz="1200" dirty="0">
                <a:solidFill>
                  <a:schemeClr val="tx2"/>
                </a:solidFill>
                <a:latin typeface="Helvetica" pitchFamily="2" charset="0"/>
              </a:rPr>
              <a:t> </a:t>
            </a:r>
            <a:r>
              <a:rPr lang="en-US" sz="1200" i="1" dirty="0">
                <a:solidFill>
                  <a:schemeClr val="tx2"/>
                </a:solidFill>
                <a:effectLst/>
                <a:latin typeface="Helvetica" pitchFamily="2" charset="0"/>
              </a:rPr>
              <a:t>Common Insulation Materials; KPMB Architects </a:t>
            </a:r>
            <a:endParaRPr lang="en-US" sz="1200" dirty="0">
              <a:solidFill>
                <a:schemeClr val="tx2"/>
              </a:solidFill>
              <a:effectLst/>
              <a:latin typeface="Helvetica" pitchFamily="2" charset="0"/>
            </a:endParaRPr>
          </a:p>
        </p:txBody>
      </p:sp>
      <p:sp>
        <p:nvSpPr>
          <p:cNvPr id="30" name="Right Arrow 29">
            <a:extLst>
              <a:ext uri="{FF2B5EF4-FFF2-40B4-BE49-F238E27FC236}">
                <a16:creationId xmlns:a16="http://schemas.microsoft.com/office/drawing/2014/main" id="{E0874E11-C2B8-56E6-56FF-2F55F4C09981}"/>
              </a:ext>
            </a:extLst>
          </p:cNvPr>
          <p:cNvSpPr/>
          <p:nvPr/>
        </p:nvSpPr>
        <p:spPr>
          <a:xfrm>
            <a:off x="5346357" y="4439935"/>
            <a:ext cx="2174342" cy="484632"/>
          </a:xfrm>
          <a:prstGeom prst="rightArrow">
            <a:avLst/>
          </a:prstGeom>
          <a:solidFill>
            <a:srgbClr val="894A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a:extLst>
              <a:ext uri="{FF2B5EF4-FFF2-40B4-BE49-F238E27FC236}">
                <a16:creationId xmlns:a16="http://schemas.microsoft.com/office/drawing/2014/main" id="{108C3FF4-F293-8EB0-E8D6-5348CE510AED}"/>
              </a:ext>
            </a:extLst>
          </p:cNvPr>
          <p:cNvSpPr txBox="1"/>
          <p:nvPr/>
        </p:nvSpPr>
        <p:spPr>
          <a:xfrm>
            <a:off x="5346357" y="4538391"/>
            <a:ext cx="1825821" cy="246221"/>
          </a:xfrm>
          <a:prstGeom prst="rect">
            <a:avLst/>
          </a:prstGeom>
          <a:noFill/>
        </p:spPr>
        <p:txBody>
          <a:bodyPr wrap="none" lIns="0" tIns="0" rIns="0" bIns="0" rtlCol="0">
            <a:spAutoFit/>
          </a:bodyPr>
          <a:lstStyle/>
          <a:p>
            <a:r>
              <a:rPr lang="en-US" sz="1600" dirty="0">
                <a:solidFill>
                  <a:schemeClr val="bg1"/>
                </a:solidFill>
              </a:rPr>
              <a:t>GPS 6 mth payback</a:t>
            </a:r>
          </a:p>
        </p:txBody>
      </p:sp>
    </p:spTree>
    <p:extLst>
      <p:ext uri="{BB962C8B-B14F-4D97-AF65-F5344CB8AC3E}">
        <p14:creationId xmlns:p14="http://schemas.microsoft.com/office/powerpoint/2010/main" val="18480969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8671-D1CC-E1EB-1F85-DD90E1D9B6B8}"/>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sharpenSoften amount="100000"/>
                    </a14:imgEffect>
                    <a14:imgEffect>
                      <a14:brightnessContrast contrast="-53000"/>
                    </a14:imgEffect>
                  </a14:imgLayer>
                </a14:imgProps>
              </a:ext>
            </a:extLst>
          </a:blip>
          <a:stretch>
            <a:fillRect/>
          </a:stretch>
        </p:blipFill>
        <p:spPr>
          <a:xfrm>
            <a:off x="5117061" y="1081978"/>
            <a:ext cx="2865934" cy="4980556"/>
          </a:xfrm>
          <a:prstGeom prst="rect">
            <a:avLst/>
          </a:prstGeom>
        </p:spPr>
      </p:pic>
      <p:pic>
        <p:nvPicPr>
          <p:cNvPr id="7" name="Picture 6">
            <a:extLst>
              <a:ext uri="{FF2B5EF4-FFF2-40B4-BE49-F238E27FC236}">
                <a16:creationId xmlns:a16="http://schemas.microsoft.com/office/drawing/2014/main" id="{E941F78F-847D-D7AF-3BDF-C66C44692996}"/>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100000"/>
                    </a14:imgEffect>
                    <a14:imgEffect>
                      <a14:brightnessContrast contrast="-54000"/>
                    </a14:imgEffect>
                  </a14:imgLayer>
                </a14:imgProps>
              </a:ext>
            </a:extLst>
          </a:blip>
          <a:stretch>
            <a:fillRect/>
          </a:stretch>
        </p:blipFill>
        <p:spPr>
          <a:xfrm>
            <a:off x="1216991" y="1081978"/>
            <a:ext cx="2825734" cy="4980556"/>
          </a:xfrm>
          <a:prstGeom prst="rect">
            <a:avLst/>
          </a:prstGeom>
        </p:spPr>
      </p:pic>
      <p:sp>
        <p:nvSpPr>
          <p:cNvPr id="8" name="TextBox 7">
            <a:extLst>
              <a:ext uri="{FF2B5EF4-FFF2-40B4-BE49-F238E27FC236}">
                <a16:creationId xmlns:a16="http://schemas.microsoft.com/office/drawing/2014/main" id="{8D943520-79F9-1284-3D55-514E4B2E5FAC}"/>
              </a:ext>
            </a:extLst>
          </p:cNvPr>
          <p:cNvSpPr txBox="1"/>
          <p:nvPr/>
        </p:nvSpPr>
        <p:spPr>
          <a:xfrm>
            <a:off x="2400300" y="6473536"/>
            <a:ext cx="4904510" cy="215444"/>
          </a:xfrm>
          <a:prstGeom prst="rect">
            <a:avLst/>
          </a:prstGeom>
          <a:noFill/>
        </p:spPr>
        <p:txBody>
          <a:bodyPr wrap="square" lIns="0" tIns="0" rIns="0" bIns="0" rtlCol="0">
            <a:spAutoFit/>
          </a:bodyPr>
          <a:lstStyle/>
          <a:p>
            <a:pPr algn="ctr"/>
            <a:r>
              <a:rPr lang="en-US" sz="1400" dirty="0">
                <a:hlinkClick r:id="rId7"/>
              </a:rPr>
              <a:t>Courtesy Vinyl Siding Institute </a:t>
            </a:r>
            <a:endParaRPr lang="en-US" sz="1400" dirty="0"/>
          </a:p>
        </p:txBody>
      </p:sp>
      <p:sp>
        <p:nvSpPr>
          <p:cNvPr id="9" name="Title 8">
            <a:extLst>
              <a:ext uri="{FF2B5EF4-FFF2-40B4-BE49-F238E27FC236}">
                <a16:creationId xmlns:a16="http://schemas.microsoft.com/office/drawing/2014/main" id="{EB7B49D4-7AE5-1F00-BA23-221B032001AD}"/>
              </a:ext>
            </a:extLst>
          </p:cNvPr>
          <p:cNvSpPr>
            <a:spLocks noGrp="1"/>
          </p:cNvSpPr>
          <p:nvPr>
            <p:ph type="title"/>
          </p:nvPr>
        </p:nvSpPr>
        <p:spPr>
          <a:xfrm>
            <a:off x="108488" y="415637"/>
            <a:ext cx="9035512" cy="853200"/>
          </a:xfrm>
        </p:spPr>
        <p:txBody>
          <a:bodyPr/>
          <a:lstStyle/>
          <a:p>
            <a:pPr algn="ctr"/>
            <a:r>
              <a:rPr lang="en-US" dirty="0"/>
              <a:t>VINYL SIDING VS. FIBER CEMENT/BRICK GWP </a:t>
            </a:r>
            <a:br>
              <a:rPr lang="en-US" dirty="0"/>
            </a:br>
            <a:endParaRPr lang="en-US" dirty="0"/>
          </a:p>
        </p:txBody>
      </p:sp>
    </p:spTree>
    <p:extLst>
      <p:ext uri="{BB962C8B-B14F-4D97-AF65-F5344CB8AC3E}">
        <p14:creationId xmlns:p14="http://schemas.microsoft.com/office/powerpoint/2010/main" val="26602996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F9F1F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A8CB89D-B4B4-E4AD-893D-0B33D2E157ED}"/>
              </a:ext>
            </a:extLst>
          </p:cNvPr>
          <p:cNvSpPr>
            <a:spLocks noGrp="1"/>
          </p:cNvSpPr>
          <p:nvPr>
            <p:ph type="dt" sz="half" idx="10"/>
          </p:nvPr>
        </p:nvSpPr>
        <p:spPr/>
        <p:txBody>
          <a:bodyPr wrap="none" anchor="t">
            <a:normAutofit/>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A42C0BBF-54AE-7BAC-E404-57F2E588C797}"/>
              </a:ext>
            </a:extLst>
          </p:cNvPr>
          <p:cNvSpPr>
            <a:spLocks noGrp="1"/>
          </p:cNvSpPr>
          <p:nvPr>
            <p:ph type="sldNum" sz="quarter" idx="12"/>
          </p:nvPr>
        </p:nvSpPr>
        <p:spPr/>
        <p:txBody>
          <a:bodyPr anchor="t">
            <a:normAutofit/>
          </a:bodyPr>
          <a:lstStyle/>
          <a:p>
            <a:pPr>
              <a:defRPr/>
            </a:pPr>
            <a:fld id="{D7C0CCF7-DF53-4ADB-AAD8-9742C01AD446}" type="slidenum">
              <a:rPr lang="de-DE" smtClean="0">
                <a:solidFill>
                  <a:srgbClr val="000000"/>
                </a:solidFill>
              </a:rPr>
              <a:pPr>
                <a:defRPr/>
              </a:pPr>
              <a:t>23</a:t>
            </a:fld>
            <a:endParaRPr lang="de-DE" dirty="0">
              <a:solidFill>
                <a:srgbClr val="000000"/>
              </a:solidFill>
            </a:endParaRPr>
          </a:p>
        </p:txBody>
      </p:sp>
      <p:graphicFrame>
        <p:nvGraphicFramePr>
          <p:cNvPr id="21" name="Diagram 20">
            <a:extLst>
              <a:ext uri="{FF2B5EF4-FFF2-40B4-BE49-F238E27FC236}">
                <a16:creationId xmlns:a16="http://schemas.microsoft.com/office/drawing/2014/main" id="{A5B9819D-573B-EBB1-0A6B-B54A76560E50}"/>
              </a:ext>
            </a:extLst>
          </p:cNvPr>
          <p:cNvGraphicFramePr/>
          <p:nvPr>
            <p:extLst>
              <p:ext uri="{D42A27DB-BD31-4B8C-83A1-F6EECF244321}">
                <p14:modId xmlns:p14="http://schemas.microsoft.com/office/powerpoint/2010/main" val="2882216078"/>
              </p:ext>
            </p:extLst>
          </p:nvPr>
        </p:nvGraphicFramePr>
        <p:xfrm>
          <a:off x="0" y="528352"/>
          <a:ext cx="2921000" cy="5351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itle 1">
            <a:extLst>
              <a:ext uri="{FF2B5EF4-FFF2-40B4-BE49-F238E27FC236}">
                <a16:creationId xmlns:a16="http://schemas.microsoft.com/office/drawing/2014/main" id="{8E269481-7CE8-AA8F-FE90-555B40927F16}"/>
              </a:ext>
            </a:extLst>
          </p:cNvPr>
          <p:cNvSpPr>
            <a:spLocks noGrp="1"/>
          </p:cNvSpPr>
          <p:nvPr>
            <p:ph type="title" idx="4294967295"/>
          </p:nvPr>
        </p:nvSpPr>
        <p:spPr>
          <a:xfrm>
            <a:off x="143781" y="327266"/>
            <a:ext cx="8944881" cy="854075"/>
          </a:xfrm>
        </p:spPr>
        <p:txBody>
          <a:bodyPr>
            <a:normAutofit/>
          </a:bodyPr>
          <a:lstStyle/>
          <a:p>
            <a:r>
              <a:rPr lang="en-US" sz="1800" dirty="0"/>
              <a:t>GPS INSULATED VINYL SIDING: RESOURCE EFFICIENT; 100% RECYCLABLE</a:t>
            </a:r>
          </a:p>
        </p:txBody>
      </p:sp>
      <p:pic>
        <p:nvPicPr>
          <p:cNvPr id="20" name="Picture 19" descr="A diagram of a recycling process&#10;&#10;Description automatically generated">
            <a:extLst>
              <a:ext uri="{FF2B5EF4-FFF2-40B4-BE49-F238E27FC236}">
                <a16:creationId xmlns:a16="http://schemas.microsoft.com/office/drawing/2014/main" id="{2F9322BB-DFD1-4851-9E0B-BDBA0E57D30E}"/>
              </a:ext>
            </a:extLst>
          </p:cNvPr>
          <p:cNvPicPr>
            <a:picLocks noChangeAspect="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colorTemperature colorTemp="7200"/>
                    </a14:imgEffect>
                  </a14:imgLayer>
                </a14:imgProps>
              </a:ext>
              <a:ext uri="{28A0092B-C50C-407E-A947-70E740481C1C}">
                <a14:useLocalDpi xmlns:a14="http://schemas.microsoft.com/office/drawing/2010/main" val="0"/>
              </a:ext>
            </a:extLst>
          </a:blip>
          <a:stretch>
            <a:fillRect/>
          </a:stretch>
        </p:blipFill>
        <p:spPr>
          <a:xfrm>
            <a:off x="2976897" y="836086"/>
            <a:ext cx="6023322" cy="5694648"/>
          </a:xfrm>
          <a:prstGeom prst="rect">
            <a:avLst/>
          </a:prstGeom>
        </p:spPr>
      </p:pic>
      <p:sp>
        <p:nvSpPr>
          <p:cNvPr id="22" name="TextBox 21">
            <a:extLst>
              <a:ext uri="{FF2B5EF4-FFF2-40B4-BE49-F238E27FC236}">
                <a16:creationId xmlns:a16="http://schemas.microsoft.com/office/drawing/2014/main" id="{464AE6FA-B14A-1B7B-C685-EE903F4C9BF6}"/>
              </a:ext>
            </a:extLst>
          </p:cNvPr>
          <p:cNvSpPr txBox="1"/>
          <p:nvPr/>
        </p:nvSpPr>
        <p:spPr>
          <a:xfrm>
            <a:off x="2641600" y="6590398"/>
            <a:ext cx="5143500" cy="184666"/>
          </a:xfrm>
          <a:prstGeom prst="rect">
            <a:avLst/>
          </a:prstGeom>
          <a:noFill/>
        </p:spPr>
        <p:txBody>
          <a:bodyPr wrap="square" lIns="0" tIns="0" rIns="0" bIns="0" rtlCol="0">
            <a:spAutoFit/>
          </a:bodyPr>
          <a:lstStyle/>
          <a:p>
            <a:pPr algn="ctr"/>
            <a:r>
              <a:rPr lang="en-US" sz="1200" dirty="0">
                <a:hlinkClick r:id="rId10"/>
              </a:rPr>
              <a:t>Courtesy Vinyl Siding Institute </a:t>
            </a:r>
            <a:endParaRPr lang="en-US" sz="1200" dirty="0"/>
          </a:p>
        </p:txBody>
      </p:sp>
    </p:spTree>
    <p:extLst>
      <p:ext uri="{BB962C8B-B14F-4D97-AF65-F5344CB8AC3E}">
        <p14:creationId xmlns:p14="http://schemas.microsoft.com/office/powerpoint/2010/main" val="32912538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graph showing the impact of various cladding products&#10;&#10;Description automatically generated">
            <a:extLst>
              <a:ext uri="{FF2B5EF4-FFF2-40B4-BE49-F238E27FC236}">
                <a16:creationId xmlns:a16="http://schemas.microsoft.com/office/drawing/2014/main" id="{84D2195D-5649-3F1B-D222-DF1178516E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4042" y="1174173"/>
            <a:ext cx="7734009" cy="5135807"/>
          </a:xfrm>
          <a:prstGeom prst="rect">
            <a:avLst/>
          </a:prstGeom>
        </p:spPr>
      </p:pic>
      <p:sp>
        <p:nvSpPr>
          <p:cNvPr id="2" name="Title 1"/>
          <p:cNvSpPr>
            <a:spLocks noGrp="1"/>
          </p:cNvSpPr>
          <p:nvPr>
            <p:ph type="title"/>
          </p:nvPr>
        </p:nvSpPr>
        <p:spPr>
          <a:xfrm>
            <a:off x="1154041" y="431755"/>
            <a:ext cx="7106555" cy="986730"/>
          </a:xfrm>
        </p:spPr>
        <p:txBody>
          <a:bodyPr>
            <a:normAutofit/>
          </a:bodyPr>
          <a:lstStyle/>
          <a:p>
            <a:pPr algn="ctr">
              <a:defRPr/>
            </a:pPr>
            <a:r>
              <a:rPr lang="en-US" sz="2000" b="1" dirty="0"/>
              <a:t>INSULATED VINYL SIDING HAS LOWER GLOBAL WARMING POTENTIAL THAN MOST OTHER OPTIONS </a:t>
            </a:r>
          </a:p>
        </p:txBody>
      </p:sp>
      <p:sp>
        <p:nvSpPr>
          <p:cNvPr id="6" name="Slide Number Placeholder 5"/>
          <p:cNvSpPr>
            <a:spLocks noGrp="1"/>
          </p:cNvSpPr>
          <p:nvPr>
            <p:ph type="sldNum" sz="quarter" idx="12"/>
          </p:nvPr>
        </p:nvSpPr>
        <p:spPr>
          <a:xfrm>
            <a:off x="165331" y="6627644"/>
            <a:ext cx="270000" cy="151200"/>
          </a:xfrm>
        </p:spPr>
        <p:txBody>
          <a:bodyPr/>
          <a:lstStyle/>
          <a:p>
            <a:pPr>
              <a:defRPr/>
            </a:pPr>
            <a:fld id="{5037968F-C5DF-8942-8786-D4E55E9E1C54}" type="slidenum">
              <a:rPr lang="en-US" smtClean="0"/>
              <a:pPr>
                <a:defRPr/>
              </a:pPr>
              <a:t>24</a:t>
            </a:fld>
            <a:endParaRPr lang="en-US" dirty="0"/>
          </a:p>
        </p:txBody>
      </p:sp>
      <p:sp>
        <p:nvSpPr>
          <p:cNvPr id="82948" name="TextBox 3"/>
          <p:cNvSpPr txBox="1">
            <a:spLocks noChangeArrowheads="1"/>
          </p:cNvSpPr>
          <p:nvPr/>
        </p:nvSpPr>
        <p:spPr bwMode="auto">
          <a:xfrm>
            <a:off x="170100" y="4857176"/>
            <a:ext cx="1065894"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000" dirty="0"/>
              <a:t>Based on the Building for Economic and Environmental Sustainability (Bees) software</a:t>
            </a:r>
          </a:p>
        </p:txBody>
      </p:sp>
      <p:sp>
        <p:nvSpPr>
          <p:cNvPr id="5" name="TextBox 4">
            <a:extLst>
              <a:ext uri="{FF2B5EF4-FFF2-40B4-BE49-F238E27FC236}">
                <a16:creationId xmlns:a16="http://schemas.microsoft.com/office/drawing/2014/main" id="{E75E7ECE-C2BC-EE0B-8967-D8679C67C295}"/>
              </a:ext>
            </a:extLst>
          </p:cNvPr>
          <p:cNvSpPr txBox="1"/>
          <p:nvPr/>
        </p:nvSpPr>
        <p:spPr>
          <a:xfrm>
            <a:off x="2286000" y="3244334"/>
            <a:ext cx="4572000" cy="369332"/>
          </a:xfrm>
          <a:prstGeom prst="rect">
            <a:avLst/>
          </a:prstGeom>
          <a:noFill/>
        </p:spPr>
        <p:txBody>
          <a:bodyPr wrap="square">
            <a:spAutoFit/>
          </a:bodyPr>
          <a:lstStyle/>
          <a:p>
            <a:endParaRPr lang="en-US" dirty="0"/>
          </a:p>
        </p:txBody>
      </p:sp>
      <p:sp>
        <p:nvSpPr>
          <p:cNvPr id="12" name="TextBox 11">
            <a:extLst>
              <a:ext uri="{FF2B5EF4-FFF2-40B4-BE49-F238E27FC236}">
                <a16:creationId xmlns:a16="http://schemas.microsoft.com/office/drawing/2014/main" id="{48F05FCE-FEAB-49AF-9DCB-E32F432D96D2}"/>
              </a:ext>
            </a:extLst>
          </p:cNvPr>
          <p:cNvSpPr txBox="1"/>
          <p:nvPr/>
        </p:nvSpPr>
        <p:spPr>
          <a:xfrm>
            <a:off x="1965611" y="6426245"/>
            <a:ext cx="5642263" cy="184666"/>
          </a:xfrm>
          <a:prstGeom prst="rect">
            <a:avLst/>
          </a:prstGeom>
          <a:noFill/>
        </p:spPr>
        <p:txBody>
          <a:bodyPr wrap="square" lIns="0" tIns="0" rIns="0" bIns="0" rtlCol="0">
            <a:spAutoFit/>
          </a:bodyPr>
          <a:lstStyle/>
          <a:p>
            <a:pPr algn="ctr"/>
            <a:r>
              <a:rPr lang="en-US" sz="1200" dirty="0">
                <a:hlinkClick r:id="rId4"/>
              </a:rPr>
              <a:t>Courtesy Progressive Foam</a:t>
            </a:r>
            <a:endParaRPr lang="en-US" sz="1200" dirty="0"/>
          </a:p>
        </p:txBody>
      </p:sp>
      <p:sp>
        <p:nvSpPr>
          <p:cNvPr id="3" name="Oval 2"/>
          <p:cNvSpPr/>
          <p:nvPr/>
        </p:nvSpPr>
        <p:spPr>
          <a:xfrm>
            <a:off x="4572000" y="4572067"/>
            <a:ext cx="1257300" cy="1854178"/>
          </a:xfrm>
          <a:prstGeom prst="ellipse">
            <a:avLst/>
          </a:prstGeom>
          <a:noFill/>
          <a:ln w="38100" cmpd="sng">
            <a:solidFill>
              <a:srgbClr val="007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30318003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heckerboard(across)">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0000"/>
            <a:lum/>
          </a:blip>
          <a:srcRect/>
          <a:stretch>
            <a:fillRect/>
          </a:stretch>
        </a:blipFill>
        <a:effectLst/>
      </p:bgPr>
    </p:bg>
    <p:spTree>
      <p:nvGrpSpPr>
        <p:cNvPr id="1" name=""/>
        <p:cNvGrpSpPr/>
        <p:nvPr/>
      </p:nvGrpSpPr>
      <p:grpSpPr>
        <a:xfrm>
          <a:off x="0" y="0"/>
          <a:ext cx="0" cy="0"/>
          <a:chOff x="0" y="0"/>
          <a:chExt cx="0" cy="0"/>
        </a:xfrm>
      </p:grpSpPr>
      <p:sp>
        <p:nvSpPr>
          <p:cNvPr id="6" name="Shape 62"/>
          <p:cNvSpPr txBox="1">
            <a:spLocks/>
          </p:cNvSpPr>
          <p:nvPr/>
        </p:nvSpPr>
        <p:spPr>
          <a:xfrm>
            <a:off x="932399" y="586688"/>
            <a:ext cx="7944120" cy="1045836"/>
          </a:xfrm>
          <a:prstGeom prst="rect">
            <a:avLst/>
          </a:prstGeom>
        </p:spPr>
        <p:txBody>
          <a:bodyPr vert="horz" lIns="0" tIns="0" rIns="0" bIns="0" rtlCol="0" anchor="t">
            <a:normAutofit/>
          </a:bodyPr>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lvl="0">
              <a:lnSpc>
                <a:spcPct val="100000"/>
              </a:lnSpc>
            </a:pPr>
            <a:r>
              <a:rPr lang="en-US" sz="2400" dirty="0">
                <a:solidFill>
                  <a:schemeClr val="accent1"/>
                </a:solidFill>
                <a:latin typeface="+mj-ea"/>
                <a:ea typeface="+mj-ea"/>
              </a:rPr>
              <a:t>ENVIRONMENTAL BENEFITS OF THE GPS INSULATED VINYL SIDING</a:t>
            </a:r>
          </a:p>
        </p:txBody>
      </p:sp>
      <p:sp>
        <p:nvSpPr>
          <p:cNvPr id="83" name="Shape 83" hidden="1"/>
          <p:cNvSpPr>
            <a:spLocks noGrp="1"/>
          </p:cNvSpPr>
          <p:nvPr>
            <p:ph type="sldNum" sz="quarter" idx="16"/>
          </p:nvPr>
        </p:nvSpPr>
        <p:spPr>
          <a:xfrm>
            <a:off x="6629399" y="6324686"/>
            <a:ext cx="2057403" cy="127001"/>
          </a:xfrm>
          <a:prstGeom prst="rect">
            <a:avLst/>
          </a:prstGeom>
          <a:extLst>
            <a:ext uri="{C572A759-6A51-4108-AA02-DFA0A04FC94B}">
              <ma14:wrappingTextBoxFlag xmlns="" xmlns:ma14="http://schemas.microsoft.com/office/mac/drawingml/2011/main" xmlns:mv="urn:schemas-microsoft-com:mac:vml" xmlns:mc="http://schemas.openxmlformats.org/markup-compatibility/2006" val="1"/>
            </a:ext>
          </a:extLst>
        </p:spPr>
        <p:txBody>
          <a:bodyPr>
            <a:normAutofit fontScale="62500" lnSpcReduction="20000"/>
          </a:bodyPr>
          <a:lstStyle>
            <a:lvl1pPr>
              <a:lnSpc>
                <a:spcPct val="90000"/>
              </a:lnSpc>
              <a:defRPr sz="900"/>
            </a:lvl1pPr>
          </a:lstStyle>
          <a:p>
            <a:pPr lvl="0">
              <a:spcAft>
                <a:spcPts val="600"/>
              </a:spcAft>
              <a:defRPr sz="1800">
                <a:solidFill>
                  <a:srgbClr val="000000"/>
                </a:solidFill>
              </a:defRPr>
            </a:pPr>
            <a:fld id="{86CB4B4D-7CA3-9044-876B-883B54F8677D}" type="slidenum">
              <a:rPr>
                <a:solidFill>
                  <a:srgbClr val="888888"/>
                </a:solidFill>
              </a:rPr>
              <a:pPr lvl="0">
                <a:spcAft>
                  <a:spcPts val="600"/>
                </a:spcAft>
                <a:defRPr sz="1800">
                  <a:solidFill>
                    <a:srgbClr val="000000"/>
                  </a:solidFill>
                </a:defRPr>
              </a:pPr>
              <a:t>25</a:t>
            </a:fld>
            <a:endParaRPr dirty="0">
              <a:solidFill>
                <a:srgbClr val="888888"/>
              </a:solidFill>
            </a:endParaRPr>
          </a:p>
        </p:txBody>
      </p:sp>
      <p:graphicFrame>
        <p:nvGraphicFramePr>
          <p:cNvPr id="85" name="TextBox 3">
            <a:extLst>
              <a:ext uri="{FF2B5EF4-FFF2-40B4-BE49-F238E27FC236}">
                <a16:creationId xmlns:a16="http://schemas.microsoft.com/office/drawing/2014/main" id="{D81CEC7E-28B0-9707-D5D4-9B05AF02E2BD}"/>
              </a:ext>
            </a:extLst>
          </p:cNvPr>
          <p:cNvGraphicFramePr/>
          <p:nvPr>
            <p:extLst>
              <p:ext uri="{D42A27DB-BD31-4B8C-83A1-F6EECF244321}">
                <p14:modId xmlns:p14="http://schemas.microsoft.com/office/powerpoint/2010/main" val="2548038339"/>
              </p:ext>
            </p:extLst>
          </p:nvPr>
        </p:nvGraphicFramePr>
        <p:xfrm>
          <a:off x="471343" y="1467852"/>
          <a:ext cx="8201314" cy="50987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1159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5" grpId="0">
        <p:bldAsOne/>
      </p:bldGraphic>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D1D1-04B7-F704-45CE-2C4412510DF8}"/>
              </a:ext>
            </a:extLst>
          </p:cNvPr>
          <p:cNvSpPr>
            <a:spLocks noGrp="1"/>
          </p:cNvSpPr>
          <p:nvPr>
            <p:ph type="title"/>
          </p:nvPr>
        </p:nvSpPr>
        <p:spPr>
          <a:xfrm>
            <a:off x="515700" y="432000"/>
            <a:ext cx="8451000" cy="853200"/>
          </a:xfrm>
        </p:spPr>
        <p:txBody>
          <a:bodyPr/>
          <a:lstStyle/>
          <a:p>
            <a:r>
              <a:rPr lang="en-US" sz="4400" dirty="0"/>
              <a:t>Quiz</a:t>
            </a:r>
          </a:p>
        </p:txBody>
      </p:sp>
      <p:sp>
        <p:nvSpPr>
          <p:cNvPr id="3" name="Text Placeholder 2">
            <a:extLst>
              <a:ext uri="{FF2B5EF4-FFF2-40B4-BE49-F238E27FC236}">
                <a16:creationId xmlns:a16="http://schemas.microsoft.com/office/drawing/2014/main" id="{64A5EB16-16DC-DE58-C8A8-7FFC56D8C5B7}"/>
              </a:ext>
            </a:extLst>
          </p:cNvPr>
          <p:cNvSpPr>
            <a:spLocks noGrp="1"/>
          </p:cNvSpPr>
          <p:nvPr>
            <p:ph type="body" idx="1"/>
          </p:nvPr>
        </p:nvSpPr>
        <p:spPr>
          <a:xfrm>
            <a:off x="602833" y="1640114"/>
            <a:ext cx="7938333" cy="3906012"/>
          </a:xfrm>
        </p:spPr>
        <p:txBody>
          <a:bodyPr/>
          <a:lstStyle/>
          <a:p>
            <a:r>
              <a:rPr lang="en-US" sz="2800" dirty="0"/>
              <a:t> What is the difference between an Environmental Product Declaration and a Life Cycle Analysis?  </a:t>
            </a:r>
          </a:p>
        </p:txBody>
      </p:sp>
      <p:sp>
        <p:nvSpPr>
          <p:cNvPr id="4" name="Date Placeholder 3">
            <a:extLst>
              <a:ext uri="{FF2B5EF4-FFF2-40B4-BE49-F238E27FC236}">
                <a16:creationId xmlns:a16="http://schemas.microsoft.com/office/drawing/2014/main" id="{B46DDDE5-FBBC-5D98-5E58-BFBBC1FD5784}"/>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7636078E-6482-978B-762D-E7B1DF9D69DB}"/>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26</a:t>
            </a:fld>
            <a:endParaRPr lang="de-DE" dirty="0">
              <a:solidFill>
                <a:srgbClr val="000000"/>
              </a:solidFill>
            </a:endParaRPr>
          </a:p>
        </p:txBody>
      </p:sp>
    </p:spTree>
    <p:extLst>
      <p:ext uri="{BB962C8B-B14F-4D97-AF65-F5344CB8AC3E}">
        <p14:creationId xmlns:p14="http://schemas.microsoft.com/office/powerpoint/2010/main" val="17655547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D1D1-04B7-F704-45CE-2C4412510DF8}"/>
              </a:ext>
            </a:extLst>
          </p:cNvPr>
          <p:cNvSpPr>
            <a:spLocks noGrp="1"/>
          </p:cNvSpPr>
          <p:nvPr>
            <p:ph type="title"/>
          </p:nvPr>
        </p:nvSpPr>
        <p:spPr>
          <a:xfrm>
            <a:off x="515700" y="432000"/>
            <a:ext cx="8451000" cy="853200"/>
          </a:xfrm>
        </p:spPr>
        <p:txBody>
          <a:bodyPr/>
          <a:lstStyle/>
          <a:p>
            <a:r>
              <a:rPr lang="en-US" sz="4400" dirty="0"/>
              <a:t>Answer</a:t>
            </a:r>
          </a:p>
        </p:txBody>
      </p:sp>
      <p:sp>
        <p:nvSpPr>
          <p:cNvPr id="3" name="Text Placeholder 2">
            <a:extLst>
              <a:ext uri="{FF2B5EF4-FFF2-40B4-BE49-F238E27FC236}">
                <a16:creationId xmlns:a16="http://schemas.microsoft.com/office/drawing/2014/main" id="{64A5EB16-16DC-DE58-C8A8-7FFC56D8C5B7}"/>
              </a:ext>
            </a:extLst>
          </p:cNvPr>
          <p:cNvSpPr>
            <a:spLocks noGrp="1"/>
          </p:cNvSpPr>
          <p:nvPr>
            <p:ph type="body" idx="1"/>
          </p:nvPr>
        </p:nvSpPr>
        <p:spPr>
          <a:xfrm>
            <a:off x="602833" y="1640114"/>
            <a:ext cx="7938333" cy="3906012"/>
          </a:xfrm>
        </p:spPr>
        <p:txBody>
          <a:bodyPr/>
          <a:lstStyle/>
          <a:p>
            <a:r>
              <a:rPr lang="en-US" sz="2800" dirty="0"/>
              <a:t> EPDs are abbreviated LCAs. </a:t>
            </a:r>
          </a:p>
          <a:p>
            <a:endParaRPr lang="en-US" sz="2800" dirty="0"/>
          </a:p>
          <a:p>
            <a:endParaRPr lang="en-US" sz="2800" dirty="0"/>
          </a:p>
        </p:txBody>
      </p:sp>
      <p:sp>
        <p:nvSpPr>
          <p:cNvPr id="4" name="Date Placeholder 3">
            <a:extLst>
              <a:ext uri="{FF2B5EF4-FFF2-40B4-BE49-F238E27FC236}">
                <a16:creationId xmlns:a16="http://schemas.microsoft.com/office/drawing/2014/main" id="{B46DDDE5-FBBC-5D98-5E58-BFBBC1FD5784}"/>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7636078E-6482-978B-762D-E7B1DF9D69DB}"/>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27</a:t>
            </a:fld>
            <a:endParaRPr lang="de-DE" dirty="0">
              <a:solidFill>
                <a:srgbClr val="000000"/>
              </a:solidFill>
            </a:endParaRPr>
          </a:p>
        </p:txBody>
      </p:sp>
    </p:spTree>
    <p:extLst>
      <p:ext uri="{BB962C8B-B14F-4D97-AF65-F5344CB8AC3E}">
        <p14:creationId xmlns:p14="http://schemas.microsoft.com/office/powerpoint/2010/main" val="1601863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D1D1-04B7-F704-45CE-2C4412510DF8}"/>
              </a:ext>
            </a:extLst>
          </p:cNvPr>
          <p:cNvSpPr>
            <a:spLocks noGrp="1"/>
          </p:cNvSpPr>
          <p:nvPr>
            <p:ph type="title"/>
          </p:nvPr>
        </p:nvSpPr>
        <p:spPr>
          <a:xfrm>
            <a:off x="515700" y="432000"/>
            <a:ext cx="8451000" cy="853200"/>
          </a:xfrm>
        </p:spPr>
        <p:txBody>
          <a:bodyPr/>
          <a:lstStyle/>
          <a:p>
            <a:r>
              <a:rPr lang="en-US" sz="4400" dirty="0"/>
              <a:t>Quiz</a:t>
            </a:r>
          </a:p>
        </p:txBody>
      </p:sp>
      <p:sp>
        <p:nvSpPr>
          <p:cNvPr id="3" name="Text Placeholder 2">
            <a:extLst>
              <a:ext uri="{FF2B5EF4-FFF2-40B4-BE49-F238E27FC236}">
                <a16:creationId xmlns:a16="http://schemas.microsoft.com/office/drawing/2014/main" id="{64A5EB16-16DC-DE58-C8A8-7FFC56D8C5B7}"/>
              </a:ext>
            </a:extLst>
          </p:cNvPr>
          <p:cNvSpPr>
            <a:spLocks noGrp="1"/>
          </p:cNvSpPr>
          <p:nvPr>
            <p:ph type="body" idx="1"/>
          </p:nvPr>
        </p:nvSpPr>
        <p:spPr>
          <a:xfrm>
            <a:off x="602833" y="1640114"/>
            <a:ext cx="7938333" cy="3906012"/>
          </a:xfrm>
        </p:spPr>
        <p:txBody>
          <a:bodyPr/>
          <a:lstStyle/>
          <a:p>
            <a:pPr marL="0" indent="0">
              <a:buNone/>
            </a:pPr>
            <a:endParaRPr lang="en-US" sz="2800" dirty="0"/>
          </a:p>
          <a:p>
            <a:r>
              <a:rPr lang="en-US" sz="2800" dirty="0"/>
              <a:t> How does insulated vinyl siding compare to cementitious siding products for embodied carbon?  </a:t>
            </a:r>
          </a:p>
        </p:txBody>
      </p:sp>
      <p:sp>
        <p:nvSpPr>
          <p:cNvPr id="4" name="Date Placeholder 3">
            <a:extLst>
              <a:ext uri="{FF2B5EF4-FFF2-40B4-BE49-F238E27FC236}">
                <a16:creationId xmlns:a16="http://schemas.microsoft.com/office/drawing/2014/main" id="{B46DDDE5-FBBC-5D98-5E58-BFBBC1FD5784}"/>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7636078E-6482-978B-762D-E7B1DF9D69DB}"/>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28</a:t>
            </a:fld>
            <a:endParaRPr lang="de-DE" dirty="0">
              <a:solidFill>
                <a:srgbClr val="000000"/>
              </a:solidFill>
            </a:endParaRPr>
          </a:p>
        </p:txBody>
      </p:sp>
    </p:spTree>
    <p:extLst>
      <p:ext uri="{BB962C8B-B14F-4D97-AF65-F5344CB8AC3E}">
        <p14:creationId xmlns:p14="http://schemas.microsoft.com/office/powerpoint/2010/main" val="41820520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D1D1-04B7-F704-45CE-2C4412510DF8}"/>
              </a:ext>
            </a:extLst>
          </p:cNvPr>
          <p:cNvSpPr>
            <a:spLocks noGrp="1"/>
          </p:cNvSpPr>
          <p:nvPr>
            <p:ph type="title"/>
          </p:nvPr>
        </p:nvSpPr>
        <p:spPr>
          <a:xfrm>
            <a:off x="515700" y="432000"/>
            <a:ext cx="8451000" cy="853200"/>
          </a:xfrm>
        </p:spPr>
        <p:txBody>
          <a:bodyPr/>
          <a:lstStyle/>
          <a:p>
            <a:r>
              <a:rPr lang="en-US" sz="4400" dirty="0"/>
              <a:t>Answer</a:t>
            </a:r>
          </a:p>
        </p:txBody>
      </p:sp>
      <p:sp>
        <p:nvSpPr>
          <p:cNvPr id="3" name="Text Placeholder 2">
            <a:extLst>
              <a:ext uri="{FF2B5EF4-FFF2-40B4-BE49-F238E27FC236}">
                <a16:creationId xmlns:a16="http://schemas.microsoft.com/office/drawing/2014/main" id="{64A5EB16-16DC-DE58-C8A8-7FFC56D8C5B7}"/>
              </a:ext>
            </a:extLst>
          </p:cNvPr>
          <p:cNvSpPr>
            <a:spLocks noGrp="1"/>
          </p:cNvSpPr>
          <p:nvPr>
            <p:ph type="body" idx="1"/>
          </p:nvPr>
        </p:nvSpPr>
        <p:spPr>
          <a:xfrm>
            <a:off x="602833" y="1640114"/>
            <a:ext cx="7938333" cy="3906012"/>
          </a:xfrm>
        </p:spPr>
        <p:txBody>
          <a:bodyPr/>
          <a:lstStyle/>
          <a:p>
            <a:pPr marL="0" indent="0">
              <a:buNone/>
            </a:pPr>
            <a:endParaRPr lang="en-US" sz="2800" dirty="0"/>
          </a:p>
          <a:p>
            <a:r>
              <a:rPr lang="en-US" sz="2800" dirty="0"/>
              <a:t> Insulated vinyl siding has about half the embodied carbon than cementitious siding products. Additionally, in the use phase, insulated vinyl siding reduced operational carbon. Uninsulated cementitious siding does not. </a:t>
            </a:r>
          </a:p>
        </p:txBody>
      </p:sp>
      <p:sp>
        <p:nvSpPr>
          <p:cNvPr id="4" name="Date Placeholder 3">
            <a:extLst>
              <a:ext uri="{FF2B5EF4-FFF2-40B4-BE49-F238E27FC236}">
                <a16:creationId xmlns:a16="http://schemas.microsoft.com/office/drawing/2014/main" id="{B46DDDE5-FBBC-5D98-5E58-BFBBC1FD5784}"/>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7636078E-6482-978B-762D-E7B1DF9D69DB}"/>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29</a:t>
            </a:fld>
            <a:endParaRPr lang="de-DE" dirty="0">
              <a:solidFill>
                <a:srgbClr val="000000"/>
              </a:solidFill>
            </a:endParaRPr>
          </a:p>
        </p:txBody>
      </p:sp>
    </p:spTree>
    <p:extLst>
      <p:ext uri="{BB962C8B-B14F-4D97-AF65-F5344CB8AC3E}">
        <p14:creationId xmlns:p14="http://schemas.microsoft.com/office/powerpoint/2010/main" val="3427173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7620" y="325208"/>
            <a:ext cx="1309080" cy="959992"/>
          </a:xfrm>
          <a:prstGeom prst="rect">
            <a:avLst/>
          </a:prstGeom>
        </p:spPr>
      </p:pic>
      <p:sp>
        <p:nvSpPr>
          <p:cNvPr id="6" name="Title 5"/>
          <p:cNvSpPr>
            <a:spLocks noGrp="1"/>
          </p:cNvSpPr>
          <p:nvPr>
            <p:ph type="title"/>
          </p:nvPr>
        </p:nvSpPr>
        <p:spPr/>
        <p:txBody>
          <a:bodyPr/>
          <a:lstStyle/>
          <a:p>
            <a:r>
              <a:rPr lang="en-US" dirty="0">
                <a:cs typeface="Arial" panose="020B0604020202020204" pitchFamily="34" charset="0"/>
              </a:rPr>
              <a:t>AIA CES PROVIDER STATEMENT</a:t>
            </a:r>
            <a:br>
              <a:rPr lang="de-DE" dirty="0">
                <a:cs typeface="Arial" panose="020B0604020202020204" pitchFamily="34" charset="0"/>
              </a:rPr>
            </a:br>
            <a:endParaRPr lang="en-US" dirty="0"/>
          </a:p>
        </p:txBody>
      </p:sp>
      <p:sp>
        <p:nvSpPr>
          <p:cNvPr id="7" name="Text Placeholder 6"/>
          <p:cNvSpPr>
            <a:spLocks noGrp="1"/>
          </p:cNvSpPr>
          <p:nvPr>
            <p:ph type="body" idx="1"/>
          </p:nvPr>
        </p:nvSpPr>
        <p:spPr/>
        <p:txBody>
          <a:bodyPr/>
          <a:lstStyle/>
          <a:p>
            <a:pPr marL="0" indent="0">
              <a:buNone/>
            </a:pPr>
            <a:r>
              <a:rPr lang="en-US" sz="1600" dirty="0">
                <a:cs typeface="Arial" panose="020B0604020202020204" pitchFamily="34" charset="0"/>
              </a:rPr>
              <a:t>AIA has registered and approved the following course for continuing education credit under Provider Number </a:t>
            </a:r>
            <a:r>
              <a:rPr lang="en-US" sz="1600" b="0" i="0" u="none" strike="noStrike" dirty="0">
                <a:solidFill>
                  <a:srgbClr val="231F20"/>
                </a:solidFill>
                <a:effectLst/>
                <a:latin typeface="+mn-lt"/>
              </a:rPr>
              <a:t>50111211</a:t>
            </a:r>
            <a:r>
              <a:rPr lang="en-US" sz="2000" b="0" i="0" u="none" strike="noStrike" dirty="0">
                <a:solidFill>
                  <a:srgbClr val="231F20"/>
                </a:solidFill>
                <a:effectLst/>
                <a:latin typeface="Architype"/>
              </a:rPr>
              <a:t>. </a:t>
            </a:r>
            <a:r>
              <a:rPr lang="en-US" sz="1600" dirty="0">
                <a:cs typeface="Arial" panose="020B0604020202020204" pitchFamily="34" charset="0"/>
              </a:rPr>
              <a:t>All registered AIA CES Providers must comply with the AIA Standards for Continuing Education Programs. Any questions or concerns about this provider or this learning program may be sent to AIA CES (cessupport@aia.org or (800) AIA 3837, Option 3).</a:t>
            </a:r>
          </a:p>
          <a:p>
            <a:pPr marL="0" indent="0">
              <a:buNone/>
            </a:pPr>
            <a:r>
              <a:rPr lang="en-US" sz="1600" dirty="0">
                <a:cs typeface="Arial" panose="020B0604020202020204" pitchFamily="34" charset="0"/>
              </a:rPr>
              <a:t>This learning program is registered with AIA CES for continuing professional education. As such, it does not include content that may be deemed or construed to be an approval or endorsement by the AIA of any material of construction or any method or manner of handling, using, distributing, or dealing in any material or product.</a:t>
            </a:r>
          </a:p>
          <a:p>
            <a:pPr marL="0" indent="0">
              <a:buNone/>
            </a:pPr>
            <a:r>
              <a:rPr lang="en-US" sz="1600" dirty="0">
                <a:cs typeface="Arial" panose="020B0604020202020204" pitchFamily="34" charset="0"/>
              </a:rPr>
              <a:t>AIA CES has reviewed and approved AIA continuing education credit for this learning program. Learners must complete the entire learning program to receive continuing education credit. AIA continuing education Learning Units earned upon completion of this course will be </a:t>
            </a:r>
            <a:br>
              <a:rPr lang="en-US" sz="1600" dirty="0">
                <a:cs typeface="Arial" panose="020B0604020202020204" pitchFamily="34" charset="0"/>
              </a:rPr>
            </a:br>
            <a:r>
              <a:rPr lang="en-US" sz="1600" dirty="0">
                <a:cs typeface="Arial" panose="020B0604020202020204" pitchFamily="34" charset="0"/>
              </a:rPr>
              <a:t>reported to AIA CES for AIA members. Certificates of Completion for AIA and non-AIA members are available upon request.</a:t>
            </a:r>
          </a:p>
          <a:p>
            <a:endParaRPr lang="en-US" dirty="0"/>
          </a:p>
        </p:txBody>
      </p:sp>
    </p:spTree>
    <p:custDataLst>
      <p:tags r:id="rId1"/>
    </p:custDataLst>
    <p:extLst>
      <p:ext uri="{BB962C8B-B14F-4D97-AF65-F5344CB8AC3E}">
        <p14:creationId xmlns:p14="http://schemas.microsoft.com/office/powerpoint/2010/main" val="1836705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E88E7-BCEE-68B0-A99A-2CA0D3B3BF36}"/>
              </a:ext>
            </a:extLst>
          </p:cNvPr>
          <p:cNvSpPr>
            <a:spLocks noGrp="1"/>
          </p:cNvSpPr>
          <p:nvPr>
            <p:ph type="title"/>
          </p:nvPr>
        </p:nvSpPr>
        <p:spPr>
          <a:xfrm>
            <a:off x="654908" y="432000"/>
            <a:ext cx="8311792" cy="853200"/>
          </a:xfrm>
        </p:spPr>
        <p:txBody>
          <a:bodyPr anchor="t">
            <a:normAutofit/>
          </a:bodyPr>
          <a:lstStyle/>
          <a:p>
            <a:r>
              <a:rPr lang="en-US" dirty="0"/>
              <a:t>Questions &amp; Resources</a:t>
            </a:r>
          </a:p>
        </p:txBody>
      </p:sp>
      <p:sp>
        <p:nvSpPr>
          <p:cNvPr id="3" name="Subtitle 2">
            <a:extLst>
              <a:ext uri="{FF2B5EF4-FFF2-40B4-BE49-F238E27FC236}">
                <a16:creationId xmlns:a16="http://schemas.microsoft.com/office/drawing/2014/main" id="{596A0E5E-1292-4251-6FEC-C184FFFB406D}"/>
              </a:ext>
            </a:extLst>
          </p:cNvPr>
          <p:cNvSpPr>
            <a:spLocks noGrp="1"/>
          </p:cNvSpPr>
          <p:nvPr>
            <p:ph type="body" idx="1"/>
          </p:nvPr>
        </p:nvSpPr>
        <p:spPr>
          <a:xfrm>
            <a:off x="159259" y="1965579"/>
            <a:ext cx="8815483" cy="3906012"/>
          </a:xfrm>
        </p:spPr>
        <p:txBody>
          <a:bodyPr>
            <a:normAutofit/>
          </a:bodyPr>
          <a:lstStyle/>
          <a:p>
            <a:pPr marL="0" indent="0">
              <a:buNone/>
            </a:pPr>
            <a:endParaRPr lang="en-US" dirty="0"/>
          </a:p>
          <a:p>
            <a:pPr marL="0" indent="0">
              <a:buNone/>
            </a:pPr>
            <a:endParaRPr lang="en-US" dirty="0"/>
          </a:p>
          <a:p>
            <a:pPr lvl="1"/>
            <a:r>
              <a:rPr lang="en-US" dirty="0">
                <a:hlinkClick r:id="rId3"/>
              </a:rPr>
              <a:t>Progressive Foam Insulated Vinyl Siding: https://www.progressivefoam.com/product/insulated-vinyl-siding-</a:t>
            </a:r>
            <a:endParaRPr lang="en-US" dirty="0"/>
          </a:p>
          <a:p>
            <a:pPr lvl="1"/>
            <a:r>
              <a:rPr lang="en-US" dirty="0">
                <a:hlinkClick r:id="rId4"/>
              </a:rPr>
              <a:t>Graphite Polystyrene Insulation: https://neopor.basf.us/residential/above-grade-walls</a:t>
            </a:r>
            <a:endParaRPr lang="en-US" dirty="0"/>
          </a:p>
          <a:p>
            <a:pPr lvl="1"/>
            <a:r>
              <a:rPr lang="en-US" dirty="0">
                <a:hlinkClick r:id="rId5"/>
              </a:rPr>
              <a:t>Reducing Carbon with Neopor: https://neopor.basf.us/carbon</a:t>
            </a:r>
            <a:endParaRPr lang="en-US" dirty="0"/>
          </a:p>
          <a:p>
            <a:pPr lvl="1"/>
            <a:r>
              <a:rPr lang="en-US" dirty="0">
                <a:hlinkClick r:id="rId6"/>
              </a:rPr>
              <a:t>Neopor Specification: https://neopor.basf.us/files/pdf/XPS_Neopor_Sub_Packet.pdf</a:t>
            </a:r>
            <a:endParaRPr lang="en-US" dirty="0"/>
          </a:p>
          <a:p>
            <a:pPr lvl="1"/>
            <a:r>
              <a:rPr lang="en-US" dirty="0">
                <a:hlinkClick r:id="rId7"/>
              </a:rPr>
              <a:t>Neopor EPD: https://info.nsf.org/Certified/Sustain/ProdCert/EPD10327.pdf</a:t>
            </a:r>
            <a:endParaRPr lang="en-US" dirty="0"/>
          </a:p>
          <a:p>
            <a:pPr lvl="1"/>
            <a:r>
              <a:rPr lang="en-US" dirty="0">
                <a:hlinkClick r:id="rId8"/>
              </a:rPr>
              <a:t>EPD Insulated Vinyl Siding</a:t>
            </a:r>
            <a:r>
              <a:rPr lang="en-US" dirty="0"/>
              <a:t>: </a:t>
            </a:r>
            <a:r>
              <a:rPr lang="en-US" dirty="0">
                <a:hlinkClick r:id="rId8"/>
              </a:rPr>
              <a:t>https://www.vinylsiding.org/wp-content/uploads/2022/07/InsulatedVinylSiding_VSI_EPD_Template_April2022.vs11.pdf</a:t>
            </a:r>
            <a:endParaRPr lang="en-US" dirty="0"/>
          </a:p>
          <a:p>
            <a:pPr lvl="1"/>
            <a:r>
              <a:rPr lang="en-US" sz="1600" dirty="0">
                <a:solidFill>
                  <a:srgbClr val="EC7E41"/>
                </a:solidFill>
                <a:effectLst/>
                <a:latin typeface="Helvetica" pitchFamily="2" charset="0"/>
                <a:hlinkClick r:id="rId9"/>
              </a:rPr>
              <a:t>Embodied Carbon Values in</a:t>
            </a:r>
            <a:r>
              <a:rPr lang="en-US" sz="1600" dirty="0">
                <a:solidFill>
                  <a:srgbClr val="EC7E41"/>
                </a:solidFill>
                <a:latin typeface="Helvetica" pitchFamily="2" charset="0"/>
                <a:hlinkClick r:id="rId9"/>
              </a:rPr>
              <a:t> </a:t>
            </a:r>
            <a:r>
              <a:rPr lang="en-US" sz="1600" dirty="0">
                <a:solidFill>
                  <a:srgbClr val="EC7E41"/>
                </a:solidFill>
                <a:effectLst/>
                <a:latin typeface="Helvetica" pitchFamily="2" charset="0"/>
                <a:hlinkClick r:id="rId9"/>
              </a:rPr>
              <a:t>Common Insulation Materials; KPMB Architects</a:t>
            </a:r>
            <a:endParaRPr lang="en-US" dirty="0"/>
          </a:p>
          <a:p>
            <a:pPr marL="0" indent="0">
              <a:buNone/>
            </a:pPr>
            <a:endParaRPr lang="en-US" dirty="0"/>
          </a:p>
        </p:txBody>
      </p:sp>
      <p:sp>
        <p:nvSpPr>
          <p:cNvPr id="10" name="Date Placeholder 4">
            <a:extLst>
              <a:ext uri="{FF2B5EF4-FFF2-40B4-BE49-F238E27FC236}">
                <a16:creationId xmlns:a16="http://schemas.microsoft.com/office/drawing/2014/main" id="{18106832-15A2-6940-FFC6-7A9FFC3D8E01}"/>
              </a:ext>
            </a:extLst>
          </p:cNvPr>
          <p:cNvSpPr>
            <a:spLocks noGrp="1"/>
          </p:cNvSpPr>
          <p:nvPr>
            <p:ph type="dt" sz="half" idx="11"/>
          </p:nvPr>
        </p:nvSpPr>
        <p:spPr>
          <a:xfrm>
            <a:off x="515700" y="6516000"/>
            <a:ext cx="351000" cy="151200"/>
          </a:xfrm>
        </p:spPr>
        <p:txBody>
          <a:bodyPr wrap="none" anchor="t">
            <a:normAutofit/>
          </a:bodyPr>
          <a:lstStyle/>
          <a:p>
            <a:pPr>
              <a:defRPr/>
            </a:pPr>
            <a:fld id="{13B742DD-8773-4E2A-9EEB-2648EDB33355}" type="datetime1">
              <a:rPr lang="de-DE" smtClean="0">
                <a:solidFill>
                  <a:srgbClr val="000000"/>
                </a:solidFill>
              </a:rPr>
              <a:pPr>
                <a:defRPr/>
              </a:pPr>
              <a:t>19.12.23</a:t>
            </a:fld>
            <a:endParaRPr lang="de-DE" dirty="0">
              <a:solidFill>
                <a:srgbClr val="000000"/>
              </a:solidFill>
            </a:endParaRPr>
          </a:p>
        </p:txBody>
      </p:sp>
      <p:sp>
        <p:nvSpPr>
          <p:cNvPr id="12" name="Slide Number Placeholder 5">
            <a:extLst>
              <a:ext uri="{FF2B5EF4-FFF2-40B4-BE49-F238E27FC236}">
                <a16:creationId xmlns:a16="http://schemas.microsoft.com/office/drawing/2014/main" id="{1236E748-AF51-E91B-05E1-94E1DCF3DAF9}"/>
              </a:ext>
            </a:extLst>
          </p:cNvPr>
          <p:cNvSpPr>
            <a:spLocks noGrp="1"/>
          </p:cNvSpPr>
          <p:nvPr>
            <p:ph type="sldNum" sz="quarter" idx="12"/>
          </p:nvPr>
        </p:nvSpPr>
        <p:spPr>
          <a:xfrm>
            <a:off x="170100" y="6516000"/>
            <a:ext cx="270000" cy="151200"/>
          </a:xfrm>
        </p:spPr>
        <p:txBody>
          <a:bodyPr anchor="t">
            <a:normAutofit/>
          </a:bodyPr>
          <a:lstStyle/>
          <a:p>
            <a:pPr>
              <a:defRPr/>
            </a:pPr>
            <a:fld id="{D7C0CCF7-DF53-4ADB-AAD8-9742C01AD446}" type="slidenum">
              <a:rPr lang="de-DE" smtClean="0">
                <a:solidFill>
                  <a:srgbClr val="000000"/>
                </a:solidFill>
              </a:rPr>
              <a:pPr>
                <a:defRPr/>
              </a:pPr>
              <a:t>30</a:t>
            </a:fld>
            <a:endParaRPr lang="de-DE" dirty="0">
              <a:solidFill>
                <a:srgbClr val="000000"/>
              </a:solidFill>
            </a:endParaRPr>
          </a:p>
        </p:txBody>
      </p:sp>
    </p:spTree>
    <p:extLst>
      <p:ext uri="{BB962C8B-B14F-4D97-AF65-F5344CB8AC3E}">
        <p14:creationId xmlns:p14="http://schemas.microsoft.com/office/powerpoint/2010/main" val="22483424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5B918-F807-0BED-8B9E-1651C048080D}"/>
              </a:ext>
            </a:extLst>
          </p:cNvPr>
          <p:cNvSpPr>
            <a:spLocks noGrp="1"/>
          </p:cNvSpPr>
          <p:nvPr>
            <p:ph type="title"/>
          </p:nvPr>
        </p:nvSpPr>
        <p:spPr>
          <a:xfrm>
            <a:off x="305100" y="535025"/>
            <a:ext cx="8802000" cy="853200"/>
          </a:xfrm>
        </p:spPr>
        <p:txBody>
          <a:bodyPr anchor="t">
            <a:normAutofit/>
          </a:bodyPr>
          <a:lstStyle/>
          <a:p>
            <a:r>
              <a:rPr lang="en-US" dirty="0"/>
              <a:t>GPS Insulated Vinyl Siding Course Suite</a:t>
            </a:r>
            <a:br>
              <a:rPr lang="en-US" dirty="0"/>
            </a:br>
            <a:endParaRPr lang="en-US" dirty="0"/>
          </a:p>
        </p:txBody>
      </p:sp>
      <p:sp>
        <p:nvSpPr>
          <p:cNvPr id="3" name="Subtitle 2">
            <a:extLst>
              <a:ext uri="{FF2B5EF4-FFF2-40B4-BE49-F238E27FC236}">
                <a16:creationId xmlns:a16="http://schemas.microsoft.com/office/drawing/2014/main" id="{59F840FD-F46B-C0AF-0B3A-FD6E61B811F4}"/>
              </a:ext>
            </a:extLst>
          </p:cNvPr>
          <p:cNvSpPr>
            <a:spLocks noGrp="1"/>
          </p:cNvSpPr>
          <p:nvPr>
            <p:ph type="body" idx="1"/>
          </p:nvPr>
        </p:nvSpPr>
        <p:spPr>
          <a:xfrm>
            <a:off x="164258" y="2276105"/>
            <a:ext cx="8815483" cy="3906012"/>
          </a:xfrm>
        </p:spPr>
        <p:txBody>
          <a:bodyPr>
            <a:normAutofit/>
          </a:bodyPr>
          <a:lstStyle/>
          <a:p>
            <a:endParaRPr lang="en-US" b="1" dirty="0"/>
          </a:p>
          <a:p>
            <a:r>
              <a:rPr lang="en-US" sz="1600" b="1" dirty="0"/>
              <a:t>Main Course: </a:t>
            </a:r>
            <a:r>
              <a:rPr lang="en-US" sz="1600" dirty="0">
                <a:solidFill>
                  <a:srgbClr val="000000"/>
                </a:solidFill>
                <a:effectLst/>
                <a:ea typeface="Times New Roman" panose="02020603050405020304" pitchFamily="18" charset="0"/>
                <a:cs typeface="Times New Roman" panose="02020603050405020304" pitchFamily="18" charset="0"/>
              </a:rPr>
              <a:t>Not Your Grandmother's Vinyl Siding: the Advantages of Graphite Polystyrene Insulated Vinyl Siding </a:t>
            </a:r>
            <a:r>
              <a:rPr lang="en-US" sz="1600" dirty="0">
                <a:solidFill>
                  <a:srgbClr val="000000"/>
                </a:solidFill>
                <a:ea typeface="Times New Roman" panose="02020603050405020304" pitchFamily="18" charset="0"/>
                <a:cs typeface="Times New Roman" panose="02020603050405020304" pitchFamily="18" charset="0"/>
              </a:rPr>
              <a:t> </a:t>
            </a:r>
            <a:r>
              <a:rPr lang="en-US" sz="1600" dirty="0">
                <a:solidFill>
                  <a:srgbClr val="000000"/>
                </a:solidFill>
                <a:effectLst/>
                <a:ea typeface="Times New Roman" panose="02020603050405020304" pitchFamily="18" charset="0"/>
                <a:cs typeface="Times New Roman" panose="02020603050405020304" pitchFamily="18" charset="0"/>
              </a:rPr>
              <a:t>| AIA Credit: 1 LU HSW | COURSE 12</a:t>
            </a:r>
          </a:p>
          <a:p>
            <a:r>
              <a:rPr lang="en-US" sz="1600" dirty="0"/>
              <a:t>EPDs and Graphite Polystyrene Insulated Vinyl Siding | AIA Credit: 0.50 HSW | Course 31 </a:t>
            </a:r>
            <a:endParaRPr lang="en-US" sz="1600" b="1" dirty="0"/>
          </a:p>
          <a:p>
            <a:r>
              <a:rPr lang="en-US" sz="1600" dirty="0"/>
              <a:t>GPS Insulated Vinyl Siding &amp; Energy Code Compliance | AIA Credit: 0.50 HSW | Course 51</a:t>
            </a:r>
          </a:p>
          <a:p>
            <a:r>
              <a:rPr lang="en-US" sz="1600" dirty="0"/>
              <a:t>GPS Insulated Vinyl Siding &amp; the 2022 Inflation Reduction Act | AIA Credit: 0.50 HSW HSW | Course 22</a:t>
            </a:r>
          </a:p>
          <a:p>
            <a:r>
              <a:rPr lang="en-US" sz="1600" dirty="0"/>
              <a:t>More Courses https://neopor.basf.us/resources/courses</a:t>
            </a:r>
          </a:p>
        </p:txBody>
      </p:sp>
      <p:sp>
        <p:nvSpPr>
          <p:cNvPr id="8" name="Date Placeholder 3">
            <a:extLst>
              <a:ext uri="{FF2B5EF4-FFF2-40B4-BE49-F238E27FC236}">
                <a16:creationId xmlns:a16="http://schemas.microsoft.com/office/drawing/2014/main" id="{F2F5BF80-768A-ED9D-E63C-8EAD91F7EA74}"/>
              </a:ext>
            </a:extLst>
          </p:cNvPr>
          <p:cNvSpPr>
            <a:spLocks noGrp="1"/>
          </p:cNvSpPr>
          <p:nvPr>
            <p:ph type="dt" sz="half" idx="11"/>
          </p:nvPr>
        </p:nvSpPr>
        <p:spPr>
          <a:xfrm>
            <a:off x="515700" y="6516000"/>
            <a:ext cx="351000" cy="151200"/>
          </a:xfrm>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10" name="Slide Number Placeholder 4">
            <a:extLst>
              <a:ext uri="{FF2B5EF4-FFF2-40B4-BE49-F238E27FC236}">
                <a16:creationId xmlns:a16="http://schemas.microsoft.com/office/drawing/2014/main" id="{52422D18-3AD5-1B6F-BEB5-292EC2B46261}"/>
              </a:ext>
            </a:extLst>
          </p:cNvPr>
          <p:cNvSpPr>
            <a:spLocks noGrp="1"/>
          </p:cNvSpPr>
          <p:nvPr>
            <p:ph type="sldNum" sz="quarter" idx="12"/>
          </p:nvPr>
        </p:nvSpPr>
        <p:spPr>
          <a:xfrm>
            <a:off x="170100" y="6516000"/>
            <a:ext cx="270000" cy="151200"/>
          </a:xfrm>
        </p:spPr>
        <p:txBody>
          <a:bodyPr/>
          <a:lstStyle/>
          <a:p>
            <a:pPr>
              <a:defRPr/>
            </a:pPr>
            <a:fld id="{D7C0CCF7-DF53-4ADB-AAD8-9742C01AD446}" type="slidenum">
              <a:rPr lang="de-DE" smtClean="0">
                <a:solidFill>
                  <a:srgbClr val="000000"/>
                </a:solidFill>
              </a:rPr>
              <a:pPr>
                <a:defRPr/>
              </a:pPr>
              <a:t>31</a:t>
            </a:fld>
            <a:endParaRPr lang="de-DE" dirty="0">
              <a:solidFill>
                <a:srgbClr val="000000"/>
              </a:solidFill>
            </a:endParaRPr>
          </a:p>
        </p:txBody>
      </p:sp>
      <p:sp>
        <p:nvSpPr>
          <p:cNvPr id="4" name="TextBox 3">
            <a:extLst>
              <a:ext uri="{FF2B5EF4-FFF2-40B4-BE49-F238E27FC236}">
                <a16:creationId xmlns:a16="http://schemas.microsoft.com/office/drawing/2014/main" id="{8431CDA0-8E70-27FE-9266-8A4D13A8A148}"/>
              </a:ext>
            </a:extLst>
          </p:cNvPr>
          <p:cNvSpPr txBox="1"/>
          <p:nvPr/>
        </p:nvSpPr>
        <p:spPr>
          <a:xfrm>
            <a:off x="307571" y="1388225"/>
            <a:ext cx="7780713" cy="553998"/>
          </a:xfrm>
          <a:prstGeom prst="rect">
            <a:avLst/>
          </a:prstGeom>
          <a:noFill/>
        </p:spPr>
        <p:txBody>
          <a:bodyPr wrap="square" lIns="0" tIns="0" rIns="0" bIns="0" rtlCol="0">
            <a:spAutoFit/>
          </a:bodyPr>
          <a:lstStyle/>
          <a:p>
            <a:r>
              <a:rPr lang="en-US" dirty="0"/>
              <a:t>A Full Suite of AIA CEU Approved Courses About the Advantages of GPS Insulated Vinyl Siding  Are Now Available Under Provider 5011211</a:t>
            </a:r>
          </a:p>
        </p:txBody>
      </p:sp>
    </p:spTree>
    <p:extLst>
      <p:ext uri="{BB962C8B-B14F-4D97-AF65-F5344CB8AC3E}">
        <p14:creationId xmlns:p14="http://schemas.microsoft.com/office/powerpoint/2010/main" val="23009929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0C0D3C-0F73-C678-37DE-A053F78FB58C}"/>
              </a:ext>
            </a:extLst>
          </p:cNvPr>
          <p:cNvSpPr>
            <a:spLocks noGrp="1"/>
          </p:cNvSpPr>
          <p:nvPr>
            <p:ph type="title"/>
          </p:nvPr>
        </p:nvSpPr>
        <p:spPr/>
        <p:txBody>
          <a:bodyPr/>
          <a:lstStyle/>
          <a:p>
            <a:r>
              <a:rPr lang="en-US" dirty="0"/>
              <a:t>Contact </a:t>
            </a:r>
          </a:p>
        </p:txBody>
      </p:sp>
      <p:sp>
        <p:nvSpPr>
          <p:cNvPr id="3" name="Text Placeholder 2">
            <a:extLst>
              <a:ext uri="{FF2B5EF4-FFF2-40B4-BE49-F238E27FC236}">
                <a16:creationId xmlns:a16="http://schemas.microsoft.com/office/drawing/2014/main" id="{AC9E5B49-0864-7FDF-BA16-AB0DD48768C2}"/>
              </a:ext>
            </a:extLst>
          </p:cNvPr>
          <p:cNvSpPr>
            <a:spLocks noGrp="1"/>
          </p:cNvSpPr>
          <p:nvPr>
            <p:ph type="body" idx="1"/>
          </p:nvPr>
        </p:nvSpPr>
        <p:spPr/>
        <p:txBody>
          <a:bodyPr/>
          <a:lstStyle/>
          <a:p>
            <a:r>
              <a:rPr lang="en-US" dirty="0"/>
              <a:t>Name </a:t>
            </a:r>
          </a:p>
          <a:p>
            <a:r>
              <a:rPr lang="en-US" dirty="0"/>
              <a:t>Image</a:t>
            </a:r>
          </a:p>
          <a:p>
            <a:r>
              <a:rPr lang="en-US" dirty="0"/>
              <a:t>Phone</a:t>
            </a:r>
          </a:p>
          <a:p>
            <a:r>
              <a:rPr lang="en-US" dirty="0"/>
              <a:t>Email;</a:t>
            </a:r>
          </a:p>
          <a:p>
            <a:endParaRPr lang="en-US" dirty="0"/>
          </a:p>
        </p:txBody>
      </p:sp>
      <p:sp>
        <p:nvSpPr>
          <p:cNvPr id="4" name="Date Placeholder 3">
            <a:extLst>
              <a:ext uri="{FF2B5EF4-FFF2-40B4-BE49-F238E27FC236}">
                <a16:creationId xmlns:a16="http://schemas.microsoft.com/office/drawing/2014/main" id="{CD516B60-4D51-F48E-A698-0A9F4E2F0548}"/>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19.12.23</a:t>
            </a:fld>
            <a:endParaRPr lang="de-DE" dirty="0">
              <a:solidFill>
                <a:srgbClr val="000000"/>
              </a:solidFill>
            </a:endParaRPr>
          </a:p>
        </p:txBody>
      </p:sp>
      <p:sp>
        <p:nvSpPr>
          <p:cNvPr id="5" name="Slide Number Placeholder 4">
            <a:extLst>
              <a:ext uri="{FF2B5EF4-FFF2-40B4-BE49-F238E27FC236}">
                <a16:creationId xmlns:a16="http://schemas.microsoft.com/office/drawing/2014/main" id="{C22FDA8F-F1DD-9B23-51C1-F24030A3791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32</a:t>
            </a:fld>
            <a:endParaRPr lang="de-DE" dirty="0">
              <a:solidFill>
                <a:srgbClr val="000000"/>
              </a:solidFill>
            </a:endParaRPr>
          </a:p>
        </p:txBody>
      </p:sp>
    </p:spTree>
    <p:extLst>
      <p:ext uri="{BB962C8B-B14F-4D97-AF65-F5344CB8AC3E}">
        <p14:creationId xmlns:p14="http://schemas.microsoft.com/office/powerpoint/2010/main" val="34626757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120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ADE037-132C-4660-B49B-EAB78058EAF0}"/>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 imgW="306" imgH="305" progId="TCLayout.ActiveDocument.1">
                  <p:embed/>
                </p:oleObj>
              </mc:Choice>
              <mc:Fallback>
                <p:oleObj name="think-cell Slide" r:id="rId5" imgW="306" imgH="305" progId="TCLayout.ActiveDocument.1">
                  <p:embed/>
                  <p:pic>
                    <p:nvPicPr>
                      <p:cNvPr id="8" name="Object 7" hidden="1">
                        <a:extLst>
                          <a:ext uri="{FF2B5EF4-FFF2-40B4-BE49-F238E27FC236}">
                            <a16:creationId xmlns:a16="http://schemas.microsoft.com/office/drawing/2014/main" id="{EBADE037-132C-4660-B49B-EAB78058EAF0}"/>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3" name="TextBox 2"/>
          <p:cNvSpPr txBox="1"/>
          <p:nvPr/>
        </p:nvSpPr>
        <p:spPr>
          <a:xfrm>
            <a:off x="171450" y="1635027"/>
            <a:ext cx="8801100" cy="4131900"/>
          </a:xfrm>
          <a:prstGeom prst="rect">
            <a:avLst/>
          </a:prstGeom>
          <a:noFill/>
        </p:spPr>
        <p:txBody>
          <a:bodyPr wrap="square" rtlCol="0">
            <a:spAutoFit/>
          </a:bodyPr>
          <a:lstStyle/>
          <a:p>
            <a:pPr marL="0" marR="0">
              <a:lnSpc>
                <a:spcPts val="1680"/>
              </a:lnSpc>
              <a:spcBef>
                <a:spcPts val="0"/>
              </a:spcBef>
              <a:spcAft>
                <a:spcPts val="3000"/>
              </a:spcAft>
            </a:pPr>
            <a:r>
              <a:rPr lang="en-US" sz="1600" dirty="0">
                <a:solidFill>
                  <a:srgbClr val="000000"/>
                </a:solidFill>
                <a:effectLst/>
                <a:ea typeface="Times New Roman" panose="02020603050405020304" pitchFamily="18" charset="0"/>
                <a:cs typeface="Times New Roman" panose="02020603050405020304" pitchFamily="18" charset="0"/>
              </a:rPr>
              <a:t>This course is an extension of the overview course "Not Your Grandmother's Vinyl Siding, the Advantages of Graphite Polystyrene Insulated Vinyl Siding” that examines the advantages of graphite polystyrene insulated vinyl siding for new and existing buildings This 0.5 credit course provides greater detail about the environmental performance declarations (EPDs) for both graphite polystyrene and vinyl siding and how these can be used to help guide sustainable design decision making. </a:t>
            </a:r>
            <a:endParaRPr lang="en-US" sz="1600" dirty="0">
              <a:effectLst/>
              <a:ea typeface="Calibri" panose="020F0502020204030204" pitchFamily="34" charset="0"/>
              <a:cs typeface="Times New Roman" panose="02020603050405020304" pitchFamily="18" charset="0"/>
            </a:endParaRPr>
          </a:p>
          <a:p>
            <a:pPr marL="0" marR="0">
              <a:lnSpc>
                <a:spcPts val="1680"/>
              </a:lnSpc>
              <a:spcBef>
                <a:spcPts val="0"/>
              </a:spcBef>
              <a:spcAft>
                <a:spcPts val="3000"/>
              </a:spcAft>
            </a:pPr>
            <a:r>
              <a:rPr lang="en-US" sz="1600" b="1" u="sng" dirty="0">
                <a:solidFill>
                  <a:srgbClr val="000000"/>
                </a:solidFill>
                <a:effectLst/>
                <a:ea typeface="Times New Roman" panose="02020603050405020304" pitchFamily="18" charset="0"/>
                <a:cs typeface="Times New Roman" panose="02020603050405020304" pitchFamily="18" charset="0"/>
              </a:rPr>
              <a:t>Prerequisite Knowledge: </a:t>
            </a:r>
            <a:r>
              <a:rPr lang="en-US" sz="1600" dirty="0">
                <a:solidFill>
                  <a:srgbClr val="000000"/>
                </a:solidFill>
                <a:effectLst/>
                <a:ea typeface="Times New Roman" panose="02020603050405020304" pitchFamily="18" charset="0"/>
                <a:cs typeface="Times New Roman" panose="02020603050405020304" pitchFamily="18" charset="0"/>
              </a:rPr>
              <a:t>The participants should have completed the overview course "Not Your Grandmother's Vinyl Siding, the Advantages of Graphite Polystyrene Insulated Vinyl Siding.” </a:t>
            </a:r>
          </a:p>
          <a:p>
            <a:pPr>
              <a:lnSpc>
                <a:spcPts val="1680"/>
              </a:lnSpc>
              <a:spcAft>
                <a:spcPts val="3000"/>
              </a:spcAft>
            </a:pPr>
            <a:r>
              <a:rPr lang="en-US" sz="1600" b="1" u="sng" dirty="0">
                <a:solidFill>
                  <a:srgbClr val="000000"/>
                </a:solidFill>
                <a:effectLst/>
                <a:ea typeface="Times New Roman" panose="02020603050405020304" pitchFamily="18" charset="0"/>
                <a:cs typeface="Times New Roman" panose="02020603050405020304" pitchFamily="18" charset="0"/>
              </a:rPr>
              <a:t>HSW Justification: </a:t>
            </a:r>
            <a:r>
              <a:rPr lang="en-US" sz="1600" dirty="0">
                <a:solidFill>
                  <a:srgbClr val="000000"/>
                </a:solidFill>
                <a:effectLst/>
                <a:ea typeface="Times New Roman" panose="02020603050405020304" pitchFamily="18" charset="0"/>
                <a:cs typeface="Times New Roman" panose="02020603050405020304" pitchFamily="18" charset="0"/>
              </a:rPr>
              <a:t>The course focuses on using EPDs (Environmental Product Declarations) to aid in making informed decisions regarding sustainable design. Using GPS-insulated vinyl siding as an example, participants will gain insights into how these EPDs offer a comprehensive perspective that recognizes the lifecycle impacts of all component systems. By leveraging this knowledge, designers can enhance environmental performance by improving energy efficiency and sustainability.</a:t>
            </a:r>
            <a:endParaRPr lang="en-US" sz="1600" dirty="0">
              <a:effectLst/>
              <a:ea typeface="Calibri" panose="020F0502020204030204" pitchFamily="34" charset="0"/>
              <a:cs typeface="Times New Roman" panose="02020603050405020304" pitchFamily="18" charset="0"/>
            </a:endParaRPr>
          </a:p>
        </p:txBody>
      </p:sp>
      <p:sp>
        <p:nvSpPr>
          <p:cNvPr id="9" name="Title 8"/>
          <p:cNvSpPr>
            <a:spLocks noGrp="1"/>
          </p:cNvSpPr>
          <p:nvPr>
            <p:ph type="title" idx="4294967295"/>
          </p:nvPr>
        </p:nvSpPr>
        <p:spPr>
          <a:xfrm>
            <a:off x="235528" y="469432"/>
            <a:ext cx="8801100" cy="291631"/>
          </a:xfrm>
        </p:spPr>
        <p:txBody>
          <a:bodyPr/>
          <a:lstStyle/>
          <a:p>
            <a:r>
              <a:rPr lang="en-US" dirty="0">
                <a:cs typeface="Arial" panose="020B0604020202020204" pitchFamily="34" charset="0"/>
              </a:rPr>
              <a:t>COURSE DESCRIPTION</a:t>
            </a:r>
            <a:br>
              <a:rPr lang="en-US" dirty="0">
                <a:cs typeface="Arial" panose="020B0604020202020204" pitchFamily="34" charset="0"/>
              </a:rPr>
            </a:br>
            <a:endParaRPr lang="en-US" dirty="0"/>
          </a:p>
        </p:txBody>
      </p:sp>
    </p:spTree>
    <p:custDataLst>
      <p:tags r:id="rId1"/>
    </p:custDataLst>
    <p:extLst>
      <p:ext uri="{BB962C8B-B14F-4D97-AF65-F5344CB8AC3E}">
        <p14:creationId xmlns:p14="http://schemas.microsoft.com/office/powerpoint/2010/main" val="140800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2">
            <a:extLst>
              <a:ext uri="{FF2B5EF4-FFF2-40B4-BE49-F238E27FC236}">
                <a16:creationId xmlns:a16="http://schemas.microsoft.com/office/drawing/2014/main" id="{4A6E047C-D054-3E2F-E9DC-A03EECCC26EB}"/>
              </a:ext>
            </a:extLst>
          </p:cNvPr>
          <p:cNvGraphicFramePr>
            <a:graphicFrameLocks noGrp="1"/>
          </p:cNvGraphicFramePr>
          <p:nvPr>
            <p:ph idx="1"/>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63933992-988A-271D-83DF-755A91CB0C5B}"/>
              </a:ext>
            </a:extLst>
          </p:cNvPr>
          <p:cNvSpPr>
            <a:spLocks noGrp="1"/>
          </p:cNvSpPr>
          <p:nvPr>
            <p:ph type="title"/>
          </p:nvPr>
        </p:nvSpPr>
        <p:spPr>
          <a:xfrm>
            <a:off x="628650" y="365126"/>
            <a:ext cx="7886700" cy="1325563"/>
          </a:xfrm>
        </p:spPr>
        <p:txBody>
          <a:bodyPr anchor="t">
            <a:normAutofit/>
          </a:bodyPr>
          <a:lstStyle/>
          <a:p>
            <a:r>
              <a:rPr lang="en-US" sz="2400" b="1" dirty="0"/>
              <a:t>BENEFITS OF GPS INSULATED VINYL SIDING AS A HIGH-PERFORMANCE BUILDING SYSTEM REVIEW</a:t>
            </a:r>
          </a:p>
        </p:txBody>
      </p:sp>
      <p:sp>
        <p:nvSpPr>
          <p:cNvPr id="7" name="Oval 6">
            <a:extLst>
              <a:ext uri="{FF2B5EF4-FFF2-40B4-BE49-F238E27FC236}">
                <a16:creationId xmlns:a16="http://schemas.microsoft.com/office/drawing/2014/main" id="{E19455DD-65ED-9F81-0FF7-DB1621E5C503}"/>
              </a:ext>
            </a:extLst>
          </p:cNvPr>
          <p:cNvSpPr/>
          <p:nvPr/>
        </p:nvSpPr>
        <p:spPr>
          <a:xfrm>
            <a:off x="521547" y="4935485"/>
            <a:ext cx="2126826" cy="923448"/>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94F5C0D7-CC27-EBF8-EF23-AD213DE0C6E4}"/>
              </a:ext>
            </a:extLst>
          </p:cNvPr>
          <p:cNvSpPr/>
          <p:nvPr/>
        </p:nvSpPr>
        <p:spPr>
          <a:xfrm>
            <a:off x="6126478" y="3794707"/>
            <a:ext cx="430109" cy="4131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Graphic 8" descr="Dollar with solid fill">
            <a:extLst>
              <a:ext uri="{FF2B5EF4-FFF2-40B4-BE49-F238E27FC236}">
                <a16:creationId xmlns:a16="http://schemas.microsoft.com/office/drawing/2014/main" id="{3E0DCDE5-1873-0B08-D292-E4BF59A006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73892" y="3854026"/>
            <a:ext cx="331893" cy="331893"/>
          </a:xfrm>
          <a:prstGeom prst="rect">
            <a:avLst/>
          </a:prstGeom>
        </p:spPr>
      </p:pic>
    </p:spTree>
    <p:extLst>
      <p:ext uri="{BB962C8B-B14F-4D97-AF65-F5344CB8AC3E}">
        <p14:creationId xmlns:p14="http://schemas.microsoft.com/office/powerpoint/2010/main" val="768514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62"/>
          <p:cNvSpPr txBox="1">
            <a:spLocks/>
          </p:cNvSpPr>
          <p:nvPr/>
        </p:nvSpPr>
        <p:spPr>
          <a:xfrm>
            <a:off x="811530" y="330742"/>
            <a:ext cx="7886700" cy="1325563"/>
          </a:xfrm>
          <a:prstGeom prst="rect">
            <a:avLst/>
          </a:prstGeom>
        </p:spPr>
        <p:txBody>
          <a:bodyPr vert="horz" lIns="0" tIns="0" rIns="0" bIns="0" rtlCol="0" anchor="t">
            <a:normAutofit/>
          </a:bodyPr>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defTabSz="685800">
              <a:lnSpc>
                <a:spcPct val="90000"/>
              </a:lnSpc>
              <a:spcBef>
                <a:spcPct val="0"/>
              </a:spcBef>
              <a:spcAft>
                <a:spcPts val="600"/>
              </a:spcAft>
              <a:defRPr sz="1800"/>
            </a:pPr>
            <a:endParaRPr lang="en-US" sz="1500" kern="1200" dirty="0">
              <a:solidFill>
                <a:srgbClr val="DE791C"/>
              </a:solidFill>
              <a:latin typeface="+mj-lt"/>
              <a:ea typeface="+mj-ea"/>
              <a:cs typeface="+mj-cs"/>
            </a:endParaRPr>
          </a:p>
        </p:txBody>
      </p:sp>
      <p:graphicFrame>
        <p:nvGraphicFramePr>
          <p:cNvPr id="7" name="Shape 68">
            <a:extLst>
              <a:ext uri="{FF2B5EF4-FFF2-40B4-BE49-F238E27FC236}">
                <a16:creationId xmlns:a16="http://schemas.microsoft.com/office/drawing/2014/main" id="{627E2333-E90E-A5A5-5B85-96BE30130D9C}"/>
              </a:ext>
            </a:extLst>
          </p:cNvPr>
          <p:cNvGraphicFramePr/>
          <p:nvPr>
            <p:extLst>
              <p:ext uri="{D42A27DB-BD31-4B8C-83A1-F6EECF244321}">
                <p14:modId xmlns:p14="http://schemas.microsoft.com/office/powerpoint/2010/main" val="3592482592"/>
              </p:ext>
            </p:extLst>
          </p:nvPr>
        </p:nvGraphicFramePr>
        <p:xfrm>
          <a:off x="628650" y="1452458"/>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a:extLst>
              <a:ext uri="{FF2B5EF4-FFF2-40B4-BE49-F238E27FC236}">
                <a16:creationId xmlns:a16="http://schemas.microsoft.com/office/drawing/2014/main" id="{4B9832A8-7BAC-D655-A0B5-A838740A14FD}"/>
              </a:ext>
            </a:extLst>
          </p:cNvPr>
          <p:cNvSpPr>
            <a:spLocks noGrp="1"/>
          </p:cNvSpPr>
          <p:nvPr>
            <p:ph type="title"/>
          </p:nvPr>
        </p:nvSpPr>
        <p:spPr>
          <a:xfrm>
            <a:off x="677295" y="611345"/>
            <a:ext cx="8155170" cy="853200"/>
          </a:xfrm>
        </p:spPr>
        <p:txBody>
          <a:bodyPr/>
          <a:lstStyle/>
          <a:p>
            <a:r>
              <a:rPr lang="en-US" dirty="0"/>
              <a:t>Learning Objectives</a:t>
            </a:r>
          </a:p>
        </p:txBody>
      </p:sp>
    </p:spTree>
    <p:extLst>
      <p:ext uri="{BB962C8B-B14F-4D97-AF65-F5344CB8AC3E}">
        <p14:creationId xmlns:p14="http://schemas.microsoft.com/office/powerpoint/2010/main" val="1277316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28825"/>
            <a:duotone>
              <a:schemeClr val="accent1">
                <a:shade val="45000"/>
                <a:satMod val="135000"/>
              </a:schemeClr>
              <a:prstClr val="white"/>
            </a:duotone>
          </a:blip>
          <a:srcRect/>
          <a:stretch>
            <a:fillRect l="-17000" r="-17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02A06-F53C-E97F-3629-247A5238987B}"/>
              </a:ext>
            </a:extLst>
          </p:cNvPr>
          <p:cNvSpPr>
            <a:spLocks noGrp="1"/>
          </p:cNvSpPr>
          <p:nvPr>
            <p:ph type="ctrTitle"/>
          </p:nvPr>
        </p:nvSpPr>
        <p:spPr>
          <a:xfrm>
            <a:off x="415636" y="2408238"/>
            <a:ext cx="7883237" cy="2387600"/>
          </a:xfrm>
          <a:solidFill>
            <a:schemeClr val="bg1">
              <a:alpha val="47668"/>
            </a:schemeClr>
          </a:solidFill>
        </p:spPr>
        <p:txBody>
          <a:bodyPr>
            <a:noAutofit/>
          </a:bodyPr>
          <a:lstStyle/>
          <a:p>
            <a:pPr>
              <a:lnSpc>
                <a:spcPct val="150000"/>
              </a:lnSpc>
            </a:pPr>
            <a:br>
              <a:rPr lang="en-US" sz="2800" dirty="0"/>
            </a:br>
            <a:br>
              <a:rPr lang="en-US" sz="2800" dirty="0"/>
            </a:br>
            <a:r>
              <a:rPr lang="en-US" sz="2800" b="1" dirty="0"/>
              <a:t>Learning Objective 1</a:t>
            </a:r>
            <a:br>
              <a:rPr lang="en-US" sz="2400" b="1" dirty="0"/>
            </a:br>
            <a:br>
              <a:rPr lang="en-US" sz="2800" b="1" dirty="0"/>
            </a:br>
            <a:br>
              <a:rPr lang="en-US" sz="2800" b="1" dirty="0"/>
            </a:br>
            <a:endParaRPr lang="en-US" sz="2800" b="1" dirty="0"/>
          </a:p>
        </p:txBody>
      </p:sp>
      <p:sp>
        <p:nvSpPr>
          <p:cNvPr id="9" name="Subtitle 8">
            <a:extLst>
              <a:ext uri="{FF2B5EF4-FFF2-40B4-BE49-F238E27FC236}">
                <a16:creationId xmlns:a16="http://schemas.microsoft.com/office/drawing/2014/main" id="{16683C21-1A1B-68C4-5778-F943494A0E98}"/>
              </a:ext>
            </a:extLst>
          </p:cNvPr>
          <p:cNvSpPr>
            <a:spLocks noGrp="1"/>
          </p:cNvSpPr>
          <p:nvPr>
            <p:ph type="subTitle" idx="1"/>
          </p:nvPr>
        </p:nvSpPr>
        <p:spPr>
          <a:xfrm>
            <a:off x="630381" y="3140076"/>
            <a:ext cx="7883237" cy="1655762"/>
          </a:xfrm>
        </p:spPr>
        <p:txBody>
          <a:bodyPr/>
          <a:lstStyle/>
          <a:p>
            <a:r>
              <a:rPr lang="en-US" sz="1000" dirty="0"/>
              <a:t>WHAT ARE ENVIRONMENTAL PRODUCT DECLARATIONS (EPDs) &amp; LIFE CYCLE ANALYSIS (LCAs)?  </a:t>
            </a:r>
          </a:p>
          <a:p>
            <a:br>
              <a:rPr lang="en-US" sz="1050" dirty="0"/>
            </a:br>
            <a:r>
              <a:rPr lang="en-US" sz="1000" dirty="0"/>
              <a:t>WHY AND HOW ARE THEY USED IN SUSTAINABLE DESIGN DECISION-MAKING?</a:t>
            </a:r>
          </a:p>
        </p:txBody>
      </p:sp>
    </p:spTree>
    <p:extLst>
      <p:ext uri="{BB962C8B-B14F-4D97-AF65-F5344CB8AC3E}">
        <p14:creationId xmlns:p14="http://schemas.microsoft.com/office/powerpoint/2010/main" val="14837305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FC34C-CAB5-CAB8-80AB-A8DF05F65A71}"/>
              </a:ext>
            </a:extLst>
          </p:cNvPr>
          <p:cNvSpPr>
            <a:spLocks noGrp="1"/>
          </p:cNvSpPr>
          <p:nvPr>
            <p:ph type="title"/>
          </p:nvPr>
        </p:nvSpPr>
        <p:spPr>
          <a:xfrm>
            <a:off x="957430" y="490360"/>
            <a:ext cx="7714578" cy="1325563"/>
          </a:xfrm>
        </p:spPr>
        <p:txBody>
          <a:bodyPr anchor="t">
            <a:normAutofit/>
          </a:bodyPr>
          <a:lstStyle/>
          <a:p>
            <a:r>
              <a:rPr lang="en-US" sz="2400" b="1" dirty="0"/>
              <a:t>EPDs: Sustainability Decision-Making Tools</a:t>
            </a:r>
          </a:p>
        </p:txBody>
      </p:sp>
      <p:graphicFrame>
        <p:nvGraphicFramePr>
          <p:cNvPr id="7" name="Text Placeholder 2">
            <a:extLst>
              <a:ext uri="{FF2B5EF4-FFF2-40B4-BE49-F238E27FC236}">
                <a16:creationId xmlns:a16="http://schemas.microsoft.com/office/drawing/2014/main" id="{DA5F3D74-5C54-63AC-28B3-F47C3F3E1419}"/>
              </a:ext>
            </a:extLst>
          </p:cNvPr>
          <p:cNvGraphicFramePr/>
          <p:nvPr>
            <p:extLst>
              <p:ext uri="{D42A27DB-BD31-4B8C-83A1-F6EECF244321}">
                <p14:modId xmlns:p14="http://schemas.microsoft.com/office/powerpoint/2010/main" val="3908881771"/>
              </p:ext>
            </p:extLst>
          </p:nvPr>
        </p:nvGraphicFramePr>
        <p:xfrm>
          <a:off x="342203" y="1441850"/>
          <a:ext cx="7714579" cy="43770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1DF0C672-3865-FD4D-91D1-AAEC0047430F}"/>
              </a:ext>
            </a:extLst>
          </p:cNvPr>
          <p:cNvSpPr txBox="1"/>
          <p:nvPr/>
        </p:nvSpPr>
        <p:spPr>
          <a:xfrm>
            <a:off x="957430" y="5978350"/>
            <a:ext cx="6484126" cy="684803"/>
          </a:xfrm>
          <a:prstGeom prst="rect">
            <a:avLst/>
          </a:prstGeom>
          <a:noFill/>
        </p:spPr>
        <p:txBody>
          <a:bodyPr wrap="square" lIns="0" tIns="0" rIns="0" bIns="0" rtlCol="0">
            <a:spAutoFit/>
          </a:bodyPr>
          <a:lstStyle/>
          <a:p>
            <a:pPr algn="ctr"/>
            <a:endParaRPr lang="en-US" sz="1600" dirty="0"/>
          </a:p>
          <a:p>
            <a:pPr algn="ctr"/>
            <a:r>
              <a:rPr lang="en-US" sz="1050" dirty="0"/>
              <a:t>SOURCE: The </a:t>
            </a:r>
            <a:r>
              <a:rPr lang="en-US" sz="1050" b="1" i="0" dirty="0"/>
              <a:t>International Organization for Standardization</a:t>
            </a:r>
            <a:endParaRPr lang="en-US" sz="1050" dirty="0"/>
          </a:p>
          <a:p>
            <a:endParaRPr lang="en-US" dirty="0"/>
          </a:p>
        </p:txBody>
      </p:sp>
    </p:spTree>
    <p:extLst>
      <p:ext uri="{BB962C8B-B14F-4D97-AF65-F5344CB8AC3E}">
        <p14:creationId xmlns:p14="http://schemas.microsoft.com/office/powerpoint/2010/main" val="3872405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C755F-4075-6CF5-A34A-F84CF73F684C}"/>
              </a:ext>
            </a:extLst>
          </p:cNvPr>
          <p:cNvSpPr>
            <a:spLocks noGrp="1"/>
          </p:cNvSpPr>
          <p:nvPr>
            <p:ph type="title"/>
          </p:nvPr>
        </p:nvSpPr>
        <p:spPr>
          <a:xfrm>
            <a:off x="466090" y="450999"/>
            <a:ext cx="8508172" cy="1325563"/>
          </a:xfrm>
        </p:spPr>
        <p:txBody>
          <a:bodyPr>
            <a:normAutofit/>
          </a:bodyPr>
          <a:lstStyle/>
          <a:p>
            <a:r>
              <a:rPr lang="en-US" sz="2400" b="1" dirty="0">
                <a:solidFill>
                  <a:schemeClr val="accent1"/>
                </a:solidFill>
              </a:rPr>
              <a:t>Examples of EPDs</a:t>
            </a:r>
          </a:p>
        </p:txBody>
      </p:sp>
      <p:sp>
        <p:nvSpPr>
          <p:cNvPr id="3" name="Content Placeholder 2">
            <a:extLst>
              <a:ext uri="{FF2B5EF4-FFF2-40B4-BE49-F238E27FC236}">
                <a16:creationId xmlns:a16="http://schemas.microsoft.com/office/drawing/2014/main" id="{B58106EE-699A-44DC-74E6-82A28E2A55AE}"/>
              </a:ext>
            </a:extLst>
          </p:cNvPr>
          <p:cNvSpPr>
            <a:spLocks noGrp="1"/>
          </p:cNvSpPr>
          <p:nvPr>
            <p:ph sz="half" idx="1"/>
          </p:nvPr>
        </p:nvSpPr>
        <p:spPr>
          <a:xfrm>
            <a:off x="466090" y="1323821"/>
            <a:ext cx="3886200" cy="4351338"/>
          </a:xfrm>
        </p:spPr>
        <p:txBody>
          <a:bodyPr/>
          <a:lstStyle/>
          <a:p>
            <a:r>
              <a:rPr lang="en-US" b="0" i="0" u="none" dirty="0"/>
              <a:t>Product Specific for </a:t>
            </a:r>
            <a:r>
              <a:rPr lang="en-US" dirty="0"/>
              <a:t>GPS Insulation </a:t>
            </a:r>
          </a:p>
          <a:p>
            <a:pPr lvl="1"/>
            <a:endParaRPr lang="en-US" dirty="0"/>
          </a:p>
        </p:txBody>
      </p:sp>
      <p:sp>
        <p:nvSpPr>
          <p:cNvPr id="4" name="Content Placeholder 3">
            <a:extLst>
              <a:ext uri="{FF2B5EF4-FFF2-40B4-BE49-F238E27FC236}">
                <a16:creationId xmlns:a16="http://schemas.microsoft.com/office/drawing/2014/main" id="{1D5D2E79-59A6-50D0-479A-CF96F57F8ADB}"/>
              </a:ext>
            </a:extLst>
          </p:cNvPr>
          <p:cNvSpPr>
            <a:spLocks noGrp="1"/>
          </p:cNvSpPr>
          <p:nvPr>
            <p:ph sz="half" idx="2"/>
          </p:nvPr>
        </p:nvSpPr>
        <p:spPr>
          <a:xfrm>
            <a:off x="4889942" y="1323821"/>
            <a:ext cx="3886200" cy="4351338"/>
          </a:xfrm>
        </p:spPr>
        <p:txBody>
          <a:bodyPr/>
          <a:lstStyle/>
          <a:p>
            <a:r>
              <a:rPr lang="en-US" dirty="0"/>
              <a:t>Industry Wide</a:t>
            </a:r>
          </a:p>
          <a:p>
            <a:endParaRPr lang="en-US" dirty="0"/>
          </a:p>
        </p:txBody>
      </p:sp>
      <p:cxnSp>
        <p:nvCxnSpPr>
          <p:cNvPr id="9" name="Straight Connector 8">
            <a:extLst>
              <a:ext uri="{FF2B5EF4-FFF2-40B4-BE49-F238E27FC236}">
                <a16:creationId xmlns:a16="http://schemas.microsoft.com/office/drawing/2014/main" id="{341FD85B-15C9-60A5-FDB7-CBD769B2AAA2}"/>
              </a:ext>
            </a:extLst>
          </p:cNvPr>
          <p:cNvCxnSpPr>
            <a:cxnSpLocks/>
          </p:cNvCxnSpPr>
          <p:nvPr/>
        </p:nvCxnSpPr>
        <p:spPr>
          <a:xfrm>
            <a:off x="4502377" y="2181602"/>
            <a:ext cx="0" cy="4122211"/>
          </a:xfrm>
          <a:prstGeom prst="line">
            <a:avLst/>
          </a:prstGeom>
          <a:ln w="44450"/>
        </p:spPr>
        <p:style>
          <a:lnRef idx="2">
            <a:schemeClr val="accent1"/>
          </a:lnRef>
          <a:fillRef idx="0">
            <a:schemeClr val="accent1"/>
          </a:fillRef>
          <a:effectRef idx="1">
            <a:schemeClr val="accent1"/>
          </a:effectRef>
          <a:fontRef idx="minor">
            <a:schemeClr val="tx1"/>
          </a:fontRef>
        </p:style>
      </p:cxnSp>
      <p:pic>
        <p:nvPicPr>
          <p:cNvPr id="12" name="Picture 11" descr="A house with a vinyl siding&#10;&#10;Description automatically generated">
            <a:extLst>
              <a:ext uri="{FF2B5EF4-FFF2-40B4-BE49-F238E27FC236}">
                <a16:creationId xmlns:a16="http://schemas.microsoft.com/office/drawing/2014/main" id="{395A9FAC-C8B1-1ED8-FEE2-F55BBDC288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9942" y="1652788"/>
            <a:ext cx="3811489" cy="4833850"/>
          </a:xfrm>
          <a:prstGeom prst="rect">
            <a:avLst/>
          </a:prstGeom>
        </p:spPr>
      </p:pic>
      <p:pic>
        <p:nvPicPr>
          <p:cNvPr id="14" name="Picture 13" descr="A cover of a vinyl siding company&#10;&#10;Description automatically generated">
            <a:extLst>
              <a:ext uri="{FF2B5EF4-FFF2-40B4-BE49-F238E27FC236}">
                <a16:creationId xmlns:a16="http://schemas.microsoft.com/office/drawing/2014/main" id="{77AA1AA8-8DA2-4C34-BE0F-BC9B01896B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6188" y="3601004"/>
            <a:ext cx="2012223" cy="2702809"/>
          </a:xfrm>
          <a:prstGeom prst="rect">
            <a:avLst/>
          </a:prstGeom>
        </p:spPr>
      </p:pic>
      <p:pic>
        <p:nvPicPr>
          <p:cNvPr id="7" name="Picture 6" descr="A close-up of a product declaration&#10;&#10;Description automatically generated">
            <a:extLst>
              <a:ext uri="{FF2B5EF4-FFF2-40B4-BE49-F238E27FC236}">
                <a16:creationId xmlns:a16="http://schemas.microsoft.com/office/drawing/2014/main" id="{B249617E-9812-F3FF-FE08-5B8054D26825}"/>
              </a:ext>
            </a:extLst>
          </p:cNvPr>
          <p:cNvPicPr>
            <a:picLocks noChangeAspect="1"/>
          </p:cNvPicPr>
          <p:nvPr/>
        </p:nvPicPr>
        <p:blipFill rotWithShape="1">
          <a:blip r:embed="rId5">
            <a:extLst>
              <a:ext uri="{28A0092B-C50C-407E-A947-70E740481C1C}">
                <a14:useLocalDpi xmlns:a14="http://schemas.microsoft.com/office/drawing/2010/main" val="0"/>
              </a:ext>
            </a:extLst>
          </a:blip>
          <a:srcRect t="5964"/>
          <a:stretch/>
        </p:blipFill>
        <p:spPr>
          <a:xfrm>
            <a:off x="443872" y="1652788"/>
            <a:ext cx="3758330" cy="4907857"/>
          </a:xfrm>
          <a:prstGeom prst="rect">
            <a:avLst/>
          </a:prstGeom>
        </p:spPr>
      </p:pic>
    </p:spTree>
    <p:extLst>
      <p:ext uri="{BB962C8B-B14F-4D97-AF65-F5344CB8AC3E}">
        <p14:creationId xmlns:p14="http://schemas.microsoft.com/office/powerpoint/2010/main" val="1689672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EMLOGOID" val="43"/>
  <p:tag name="_BASF_WIZARD_GROUPID" val="15"/>
  <p:tag name="_BASF_WIZARD_VERSION" val="10.1.2"/>
  <p:tag name="_BASF_CONVERTED_TO_TAGS" val="1"/>
  <p:tag name="_TP_TITELFOLIE_VISIBLE" val="0"/>
  <p:tag name="_TP_TITELFOLIE_WIDTH" val="460"/>
  <p:tag name="THINKCELLUNDODONOTDELETE" val="0"/>
  <p:tag name="ARTICULATE_DESIGN_ID_BASF_FOLIENDESIGN_V10" val="X4NCEVjP"/>
  <p:tag name="ARTICULATE_SLIDE_COUNT" val="4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s3sXiaqasscMXj9mGVt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_WIZ_TB_TYPE" val="TB"/>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3rj6t9ap9.TozqJda2zoQ"/>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s3sXiaqasscMXj9mGVt3A"/>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B56A46EF-BF20-534D-A1C6-2849E757322A}"/>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874BA191-42F9-874B-8D64-513B89B2D939}"/>
    </a:ext>
  </a:extLst>
</a:theme>
</file>

<file path=ppt/theme/theme3.xml><?xml version="1.0" encoding="utf-8"?>
<a:theme xmlns:a="http://schemas.openxmlformats.org/drawingml/2006/main" name="BASF_FolienDesign_V10 (HIDDEN)">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22A78743-9524-E043-8952-46DBF0F7EEF5}"/>
    </a:ext>
  </a:extLst>
</a:theme>
</file>

<file path=ppt/theme/theme4.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arbon_CEU PPT_HW1.pptx" id="{99BE7A6D-F7E6-574D-A4D9-5063734B573E}" vid="{F7A65D09-6E37-9D43-B362-F25D45C3A195}"/>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5C1E981-713F-7543-A8C1-BEB6CE20A54B}">
  <we:reference id="wa104380456" version="1.2.0.6" store="en-US" storeType="OMEX"/>
  <we:alternateReferences>
    <we:reference id="wa104380456" version="1.2.0.6" store="WA10438045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CCBF4E1ACD9B147B842305370E15A7A" ma:contentTypeVersion="16" ma:contentTypeDescription="Create a new document." ma:contentTypeScope="" ma:versionID="31af4c982659bec2067052bcbaf23eae">
  <xsd:schema xmlns:xsd="http://www.w3.org/2001/XMLSchema" xmlns:xs="http://www.w3.org/2001/XMLSchema" xmlns:p="http://schemas.microsoft.com/office/2006/metadata/properties" xmlns:ns2="0f1c26be-5878-4387-ab43-1155857f3cd5" xmlns:ns3="040cefcc-0947-4541-aee2-0b45a1e649b3" targetNamespace="http://schemas.microsoft.com/office/2006/metadata/properties" ma:root="true" ma:fieldsID="0cf045bbbf012dbdd8ca25af83f922bc" ns2:_="" ns3:_="">
    <xsd:import namespace="0f1c26be-5878-4387-ab43-1155857f3cd5"/>
    <xsd:import namespace="040cefcc-0947-4541-aee2-0b45a1e649b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c26be-5878-4387-ab43-1155857f3c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04f2cd92-8d93-4e4c-83d3-86703d91558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40cefcc-0947-4541-aee2-0b45a1e649b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75f5321-619e-471f-96c1-0057b2c36075}" ma:internalName="TaxCatchAll" ma:showField="CatchAllData" ma:web="040cefcc-0947-4541-aee2-0b45a1e649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40cefcc-0947-4541-aee2-0b45a1e649b3" xsi:nil="true"/>
    <lcf76f155ced4ddcb4097134ff3c332f xmlns="0f1c26be-5878-4387-ab43-1155857f3cd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A302F6F-A716-4AA5-99A7-8D9A3F021E63}">
  <ds:schemaRefs>
    <ds:schemaRef ds:uri="http://schemas.microsoft.com/sharepoint/v3/contenttype/forms"/>
  </ds:schemaRefs>
</ds:datastoreItem>
</file>

<file path=customXml/itemProps2.xml><?xml version="1.0" encoding="utf-8"?>
<ds:datastoreItem xmlns:ds="http://schemas.openxmlformats.org/officeDocument/2006/customXml" ds:itemID="{1228576F-7879-4082-8D7C-39A54AA029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1c26be-5878-4387-ab43-1155857f3cd5"/>
    <ds:schemaRef ds:uri="040cefcc-0947-4541-aee2-0b45a1e649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6F5EDB-A9D0-413E-9120-23B01340AA14}">
  <ds:schemaRefs>
    <ds:schemaRef ds:uri="http://purl.org/dc/elements/1.1/"/>
    <ds:schemaRef ds:uri="http://schemas.microsoft.com/office/infopath/2007/PartnerControls"/>
    <ds:schemaRef ds:uri="http://schemas.microsoft.com/office/2006/metadata/properties"/>
    <ds:schemaRef ds:uri="http://purl.org/dc/terms/"/>
    <ds:schemaRef ds:uri="0f1c26be-5878-4387-ab43-1155857f3cd5"/>
    <ds:schemaRef ds:uri="http://schemas.microsoft.com/office/2006/documentManagement/types"/>
    <ds:schemaRef ds:uri="http://schemas.openxmlformats.org/package/2006/metadata/core-properties"/>
    <ds:schemaRef ds:uri="040cefcc-0947-4541-aee2-0b45a1e649b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92184</TotalTime>
  <Words>4834</Words>
  <Application>Microsoft Macintosh PowerPoint</Application>
  <PresentationFormat>On-screen Show (4:3)</PresentationFormat>
  <Paragraphs>407</Paragraphs>
  <Slides>33</Slides>
  <Notes>3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9" baseType="lpstr">
      <vt:lpstr>Architype</vt:lpstr>
      <vt:lpstr>Arial</vt:lpstr>
      <vt:lpstr>Calibri</vt:lpstr>
      <vt:lpstr>Calibri Light</vt:lpstr>
      <vt:lpstr>Google Sans</vt:lpstr>
      <vt:lpstr>Helvetica</vt:lpstr>
      <vt:lpstr>nexussans</vt:lpstr>
      <vt:lpstr>Open Sans</vt:lpstr>
      <vt:lpstr>Poppins</vt:lpstr>
      <vt:lpstr>Wingdings</vt:lpstr>
      <vt:lpstr>Wingdings 3</vt:lpstr>
      <vt:lpstr>BASF_TitelDesign_V10</vt:lpstr>
      <vt:lpstr>BASF_FolienDesign_V10</vt:lpstr>
      <vt:lpstr>BASF_FolienDesign_V10 (HIDDEN)</vt:lpstr>
      <vt:lpstr>BASF_Finale_V10</vt:lpstr>
      <vt:lpstr>think-cell Slide</vt:lpstr>
      <vt:lpstr>PowerPoint Presentation</vt:lpstr>
      <vt:lpstr>COPYRIGHT MATERIALS </vt:lpstr>
      <vt:lpstr>AIA CES PROVIDER STATEMENT </vt:lpstr>
      <vt:lpstr>COURSE DESCRIPTION </vt:lpstr>
      <vt:lpstr>BENEFITS OF GPS INSULATED VINYL SIDING AS A HIGH-PERFORMANCE BUILDING SYSTEM REVIEW</vt:lpstr>
      <vt:lpstr>Learning Objectives</vt:lpstr>
      <vt:lpstr>  Learning Objective 1   </vt:lpstr>
      <vt:lpstr>EPDs: Sustainability Decision-Making Tools</vt:lpstr>
      <vt:lpstr>Examples of EPDs</vt:lpstr>
      <vt:lpstr>Developing an EPD</vt:lpstr>
      <vt:lpstr>PowerPoint Presentation</vt:lpstr>
      <vt:lpstr>Learning Objective 2 </vt:lpstr>
      <vt:lpstr>PowerPoint Presentation</vt:lpstr>
      <vt:lpstr>PowerPoint Presentation</vt:lpstr>
      <vt:lpstr>HOUSING SUPPLY ACTION PLAN</vt:lpstr>
      <vt:lpstr>EPD PLUGINS IN DESIGN TOOLS &amp; NEW CARBON CALCULATORS</vt:lpstr>
      <vt:lpstr>PowerPoint Presentation</vt:lpstr>
      <vt:lpstr>Learning Objective 3  </vt:lpstr>
      <vt:lpstr>UNDERSTANDING THE OPERATIONAL AND EMBODIED CARBON OF GRAPHITE POLYSTYRENE INSULATION   </vt:lpstr>
      <vt:lpstr>EMBODIED CARBON VALUES IN COMMON INSULATION MATERIALS,   KPMB ARCHITECTS 2021 ANALYSIS </vt:lpstr>
      <vt:lpstr>Carbon Payback Analysis Natural Gas Heating Scenario (0-16 Years)</vt:lpstr>
      <vt:lpstr>VINYL SIDING VS. FIBER CEMENT/BRICK GWP  </vt:lpstr>
      <vt:lpstr>GPS INSULATED VINYL SIDING: RESOURCE EFFICIENT; 100% RECYCLABLE</vt:lpstr>
      <vt:lpstr>INSULATED VINYL SIDING HAS LOWER GLOBAL WARMING POTENTIAL THAN MOST OTHER OPTIONS </vt:lpstr>
      <vt:lpstr>PowerPoint Presentation</vt:lpstr>
      <vt:lpstr>Quiz</vt:lpstr>
      <vt:lpstr>Answer</vt:lpstr>
      <vt:lpstr>Quiz</vt:lpstr>
      <vt:lpstr>Answer</vt:lpstr>
      <vt:lpstr>Questions &amp; Resources</vt:lpstr>
      <vt:lpstr>GPS Insulated Vinyl Siding Course Suite </vt:lpstr>
      <vt:lpstr>Contact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stin DeMarco</dc:creator>
  <cp:lastModifiedBy>Mary MacLeod-Jones</cp:lastModifiedBy>
  <cp:revision>123</cp:revision>
  <cp:lastPrinted>2023-03-22T16:33:28Z</cp:lastPrinted>
  <dcterms:created xsi:type="dcterms:W3CDTF">2019-08-20T12:15:13Z</dcterms:created>
  <dcterms:modified xsi:type="dcterms:W3CDTF">2023-12-19T20:1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ContentTypeId">
    <vt:lpwstr>0x0101000C91FB741FBA204C98AFE730A5953CD6</vt:lpwstr>
  </property>
  <property fmtid="{D5CDD505-2E9C-101B-9397-08002B2CF9AE}" pid="7" name="ArticulateGUID">
    <vt:lpwstr>63203C01-A992-412C-B1FB-F03D732A27E0</vt:lpwstr>
  </property>
  <property fmtid="{D5CDD505-2E9C-101B-9397-08002B2CF9AE}" pid="8" name="ArticulatePath">
    <vt:lpwstr>CarbonCEU</vt:lpwstr>
  </property>
  <property fmtid="{D5CDD505-2E9C-101B-9397-08002B2CF9AE}" pid="9" name="MSIP_Label_06530cf4-8573-4c29-a912-bbcdac835909_Enabled">
    <vt:lpwstr>true</vt:lpwstr>
  </property>
  <property fmtid="{D5CDD505-2E9C-101B-9397-08002B2CF9AE}" pid="10" name="MSIP_Label_06530cf4-8573-4c29-a912-bbcdac835909_SetDate">
    <vt:lpwstr>2023-02-10T14:58:30Z</vt:lpwstr>
  </property>
  <property fmtid="{D5CDD505-2E9C-101B-9397-08002B2CF9AE}" pid="11" name="MSIP_Label_06530cf4-8573-4c29-a912-bbcdac835909_Method">
    <vt:lpwstr>Standard</vt:lpwstr>
  </property>
  <property fmtid="{D5CDD505-2E9C-101B-9397-08002B2CF9AE}" pid="12" name="MSIP_Label_06530cf4-8573-4c29-a912-bbcdac835909_Name">
    <vt:lpwstr>06530cf4-8573-4c29-a912-bbcdac835909</vt:lpwstr>
  </property>
  <property fmtid="{D5CDD505-2E9C-101B-9397-08002B2CF9AE}" pid="13" name="MSIP_Label_06530cf4-8573-4c29-a912-bbcdac835909_SiteId">
    <vt:lpwstr>ecaa386b-c8df-4ce0-ad01-740cbdb5ba55</vt:lpwstr>
  </property>
  <property fmtid="{D5CDD505-2E9C-101B-9397-08002B2CF9AE}" pid="14" name="MSIP_Label_06530cf4-8573-4c29-a912-bbcdac835909_ActionId">
    <vt:lpwstr>8a0c9078-5d83-4ebe-801d-4267d5f961b9</vt:lpwstr>
  </property>
  <property fmtid="{D5CDD505-2E9C-101B-9397-08002B2CF9AE}" pid="15" name="MSIP_Label_06530cf4-8573-4c29-a912-bbcdac835909_ContentBits">
    <vt:lpwstr>2</vt:lpwstr>
  </property>
</Properties>
</file>